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7"/>
  </p:notesMasterIdLst>
  <p:handoutMasterIdLst>
    <p:handoutMasterId r:id="rId38"/>
  </p:handoutMasterIdLst>
  <p:sldIdLst>
    <p:sldId id="257" r:id="rId2"/>
    <p:sldId id="484" r:id="rId3"/>
    <p:sldId id="465" r:id="rId4"/>
    <p:sldId id="439" r:id="rId5"/>
    <p:sldId id="442" r:id="rId6"/>
    <p:sldId id="444" r:id="rId7"/>
    <p:sldId id="443" r:id="rId8"/>
    <p:sldId id="476" r:id="rId9"/>
    <p:sldId id="475" r:id="rId10"/>
    <p:sldId id="477" r:id="rId11"/>
    <p:sldId id="466" r:id="rId12"/>
    <p:sldId id="467" r:id="rId13"/>
    <p:sldId id="478" r:id="rId14"/>
    <p:sldId id="455" r:id="rId15"/>
    <p:sldId id="474" r:id="rId16"/>
    <p:sldId id="481" r:id="rId17"/>
    <p:sldId id="469" r:id="rId18"/>
    <p:sldId id="447" r:id="rId19"/>
    <p:sldId id="448" r:id="rId20"/>
    <p:sldId id="470" r:id="rId21"/>
    <p:sldId id="471" r:id="rId22"/>
    <p:sldId id="472" r:id="rId23"/>
    <p:sldId id="450" r:id="rId24"/>
    <p:sldId id="457" r:id="rId25"/>
    <p:sldId id="480" r:id="rId26"/>
    <p:sldId id="482" r:id="rId27"/>
    <p:sldId id="446" r:id="rId28"/>
    <p:sldId id="353" r:id="rId29"/>
    <p:sldId id="456" r:id="rId30"/>
    <p:sldId id="479" r:id="rId31"/>
    <p:sldId id="433" r:id="rId32"/>
    <p:sldId id="394" r:id="rId33"/>
    <p:sldId id="483" r:id="rId34"/>
    <p:sldId id="436" r:id="rId35"/>
    <p:sldId id="485" r:id="rId36"/>
  </p:sldIdLst>
  <p:sldSz cx="9144000" cy="6858000" type="screen4x3"/>
  <p:notesSz cx="6858000" cy="9144000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n Heesch, Nicola (GGO)" initials="VHN(" lastIdx="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E00"/>
    <a:srgbClr val="FF9933"/>
    <a:srgbClr val="09B3FF"/>
    <a:srgbClr val="F2F2F2"/>
    <a:srgbClr val="37C1FF"/>
    <a:srgbClr val="00ADFA"/>
    <a:srgbClr val="2C197B"/>
    <a:srgbClr val="4385C1"/>
    <a:srgbClr val="00518E"/>
    <a:srgbClr val="88B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7" autoAdjust="0"/>
    <p:restoredTop sz="94660"/>
  </p:normalViewPr>
  <p:slideViewPr>
    <p:cSldViewPr snapToGrid="0">
      <p:cViewPr>
        <p:scale>
          <a:sx n="70" d="100"/>
          <a:sy n="70" d="100"/>
        </p:scale>
        <p:origin x="-66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3108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600" b="1" dirty="0" smtClean="0">
                <a:effectLst/>
              </a:rPr>
              <a:t>Time and Resources allocated to </a:t>
            </a:r>
            <a:r>
              <a:rPr lang="en-ZA" sz="1600" b="1" baseline="0" dirty="0" smtClean="0">
                <a:effectLst/>
              </a:rPr>
              <a:t>activities</a:t>
            </a:r>
            <a:endParaRPr lang="en-ZA" sz="1600" b="1" dirty="0" smtClean="0">
              <a:effectLst/>
            </a:endParaRPr>
          </a:p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000" dirty="0" smtClean="0">
                <a:effectLst/>
              </a:rPr>
              <a:t>Q14. Rate the following trade-related activities in terms of where your organization's time and resources are spent.</a:t>
            </a:r>
            <a:endParaRPr lang="en-ZA" sz="10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5933655859780881"/>
          <c:y val="0.13546489527612443"/>
          <c:w val="0.49941190421051207"/>
          <c:h val="0.79640667736275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= Least time / resource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6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6</c:v>
                </c:pt>
                <c:pt idx="11">
                  <c:v>14</c:v>
                </c:pt>
                <c:pt idx="12">
                  <c:v>13</c:v>
                </c:pt>
                <c:pt idx="13">
                  <c:v>17</c:v>
                </c:pt>
                <c:pt idx="14">
                  <c:v>20</c:v>
                </c:pt>
                <c:pt idx="15">
                  <c:v>2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13</c:v>
                </c:pt>
                <c:pt idx="1">
                  <c:v>15</c:v>
                </c:pt>
                <c:pt idx="2">
                  <c:v>12</c:v>
                </c:pt>
                <c:pt idx="3">
                  <c:v>14</c:v>
                </c:pt>
                <c:pt idx="4">
                  <c:v>14</c:v>
                </c:pt>
                <c:pt idx="5">
                  <c:v>12</c:v>
                </c:pt>
                <c:pt idx="6">
                  <c:v>17</c:v>
                </c:pt>
                <c:pt idx="7">
                  <c:v>15</c:v>
                </c:pt>
                <c:pt idx="8">
                  <c:v>17</c:v>
                </c:pt>
                <c:pt idx="9">
                  <c:v>15</c:v>
                </c:pt>
                <c:pt idx="10">
                  <c:v>14</c:v>
                </c:pt>
                <c:pt idx="11">
                  <c:v>18</c:v>
                </c:pt>
                <c:pt idx="12">
                  <c:v>18</c:v>
                </c:pt>
                <c:pt idx="13">
                  <c:v>17</c:v>
                </c:pt>
                <c:pt idx="14">
                  <c:v>14</c:v>
                </c:pt>
                <c:pt idx="15">
                  <c:v>1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27</c:v>
                </c:pt>
                <c:pt idx="1">
                  <c:v>24</c:v>
                </c:pt>
                <c:pt idx="2">
                  <c:v>25</c:v>
                </c:pt>
                <c:pt idx="3">
                  <c:v>25</c:v>
                </c:pt>
                <c:pt idx="4">
                  <c:v>24</c:v>
                </c:pt>
                <c:pt idx="5">
                  <c:v>26</c:v>
                </c:pt>
                <c:pt idx="6">
                  <c:v>28</c:v>
                </c:pt>
                <c:pt idx="7">
                  <c:v>23</c:v>
                </c:pt>
                <c:pt idx="8">
                  <c:v>27</c:v>
                </c:pt>
                <c:pt idx="9">
                  <c:v>24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4</c:v>
                </c:pt>
                <c:pt idx="14">
                  <c:v>20</c:v>
                </c:pt>
                <c:pt idx="15">
                  <c:v>19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99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26</c:v>
                </c:pt>
                <c:pt idx="1">
                  <c:v>23</c:v>
                </c:pt>
                <c:pt idx="2">
                  <c:v>29</c:v>
                </c:pt>
                <c:pt idx="3">
                  <c:v>26</c:v>
                </c:pt>
                <c:pt idx="4">
                  <c:v>23</c:v>
                </c:pt>
                <c:pt idx="5">
                  <c:v>26</c:v>
                </c:pt>
                <c:pt idx="6">
                  <c:v>25</c:v>
                </c:pt>
                <c:pt idx="7">
                  <c:v>22</c:v>
                </c:pt>
                <c:pt idx="8">
                  <c:v>22</c:v>
                </c:pt>
                <c:pt idx="9">
                  <c:v>21</c:v>
                </c:pt>
                <c:pt idx="10">
                  <c:v>20</c:v>
                </c:pt>
                <c:pt idx="11">
                  <c:v>21</c:v>
                </c:pt>
                <c:pt idx="12">
                  <c:v>17</c:v>
                </c:pt>
                <c:pt idx="13">
                  <c:v>17</c:v>
                </c:pt>
                <c:pt idx="14">
                  <c:v>15</c:v>
                </c:pt>
                <c:pt idx="15">
                  <c:v>1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= Most time / resource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0">
                  <c:v>24</c:v>
                </c:pt>
                <c:pt idx="1">
                  <c:v>23</c:v>
                </c:pt>
                <c:pt idx="2">
                  <c:v>17</c:v>
                </c:pt>
                <c:pt idx="3">
                  <c:v>20</c:v>
                </c:pt>
                <c:pt idx="4">
                  <c:v>21</c:v>
                </c:pt>
                <c:pt idx="5">
                  <c:v>17</c:v>
                </c:pt>
                <c:pt idx="6">
                  <c:v>16</c:v>
                </c:pt>
                <c:pt idx="7">
                  <c:v>17</c:v>
                </c:pt>
                <c:pt idx="8">
                  <c:v>14</c:v>
                </c:pt>
                <c:pt idx="9">
                  <c:v>16</c:v>
                </c:pt>
                <c:pt idx="10">
                  <c:v>15</c:v>
                </c:pt>
                <c:pt idx="11">
                  <c:v>13</c:v>
                </c:pt>
                <c:pt idx="12">
                  <c:v>11</c:v>
                </c:pt>
                <c:pt idx="13">
                  <c:v>10</c:v>
                </c:pt>
                <c:pt idx="14">
                  <c:v>9</c:v>
                </c:pt>
                <c:pt idx="15">
                  <c:v>8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ot Applicabl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documentation and licensing</c:v>
                </c:pt>
                <c:pt idx="1">
                  <c:v>Product import classification</c:v>
                </c:pt>
                <c:pt idx="2">
                  <c:v>Global supply chain management</c:v>
                </c:pt>
                <c:pt idx="3">
                  <c:v>Customs broker management</c:v>
                </c:pt>
                <c:pt idx="4">
                  <c:v>Export documentation and licensing</c:v>
                </c:pt>
                <c:pt idx="5">
                  <c:v>Global transportation management</c:v>
                </c:pt>
                <c:pt idx="6">
                  <c:v>Import valuation</c:v>
                </c:pt>
                <c:pt idx="7">
                  <c:v>Product export classification</c:v>
                </c:pt>
                <c:pt idx="8">
                  <c:v>Supply chain security</c:v>
                </c:pt>
                <c:pt idx="9">
                  <c:v>Inter-company transfer prices</c:v>
                </c:pt>
                <c:pt idx="10">
                  <c:v>Export incentives (duty drawback / advanced authorization etc.)</c:v>
                </c:pt>
                <c:pt idx="11">
                  <c:v>Free trade agreements</c:v>
                </c:pt>
                <c:pt idx="12">
                  <c:v>Restricted party screening</c:v>
                </c:pt>
                <c:pt idx="13">
                  <c:v>Trade finance</c:v>
                </c:pt>
                <c:pt idx="14">
                  <c:v>Free trade zone / bonded warehouse management (FTZ )</c:v>
                </c:pt>
                <c:pt idx="15">
                  <c:v>Temporary imports</c:v>
                </c:pt>
              </c:strCache>
            </c:strRef>
          </c:cat>
          <c:val>
            <c:numRef>
              <c:f>Sheet1!$G$2:$G$17</c:f>
              <c:numCache>
                <c:formatCode>General</c:formatCode>
                <c:ptCount val="16"/>
                <c:pt idx="0">
                  <c:v>4</c:v>
                </c:pt>
                <c:pt idx="1">
                  <c:v>8</c:v>
                </c:pt>
                <c:pt idx="2">
                  <c:v>10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5</c:v>
                </c:pt>
                <c:pt idx="7">
                  <c:v>11</c:v>
                </c:pt>
                <c:pt idx="8">
                  <c:v>9</c:v>
                </c:pt>
                <c:pt idx="9">
                  <c:v>11</c:v>
                </c:pt>
                <c:pt idx="10">
                  <c:v>13</c:v>
                </c:pt>
                <c:pt idx="11">
                  <c:v>11</c:v>
                </c:pt>
                <c:pt idx="12">
                  <c:v>17</c:v>
                </c:pt>
                <c:pt idx="13">
                  <c:v>15</c:v>
                </c:pt>
                <c:pt idx="14">
                  <c:v>22</c:v>
                </c:pt>
                <c:pt idx="15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5277440"/>
        <c:axId val="415278976"/>
      </c:barChart>
      <c:catAx>
        <c:axId val="4152774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5278976"/>
        <c:crosses val="autoZero"/>
        <c:auto val="1"/>
        <c:lblAlgn val="ctr"/>
        <c:lblOffset val="100"/>
        <c:noMultiLvlLbl val="0"/>
      </c:catAx>
      <c:valAx>
        <c:axId val="415278976"/>
        <c:scaling>
          <c:orientation val="minMax"/>
          <c:max val="100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527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solidFill>
            <a:schemeClr val="tx1"/>
          </a:solidFill>
          <a:prstDash val="sys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600" b="1" dirty="0" smtClean="0">
                <a:effectLst/>
              </a:rPr>
              <a:t>Perception of Risk </a:t>
            </a:r>
          </a:p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000" dirty="0" smtClean="0">
                <a:effectLst/>
              </a:rPr>
              <a:t>Q15. Rate the following trade-related activities in terms of </a:t>
            </a:r>
            <a:r>
              <a:rPr lang="en-ZA" sz="1000" b="0" i="0" u="none" strike="noStrike" baseline="0" dirty="0" smtClean="0">
                <a:effectLst/>
              </a:rPr>
              <a:t>how you perceive the risk </a:t>
            </a:r>
            <a:r>
              <a:rPr lang="en-ZA" sz="1000" b="0" i="0" u="none" strike="noStrike" baseline="0" smtClean="0">
                <a:effectLst/>
              </a:rPr>
              <a:t>for penalties</a:t>
            </a:r>
            <a:r>
              <a:rPr lang="en-ZA" sz="1000" b="0" i="0" u="none" strike="noStrike" baseline="0" dirty="0" smtClean="0">
                <a:effectLst/>
              </a:rPr>
              <a:t>, other government sanctions, or increased import costs.</a:t>
            </a:r>
            <a:endParaRPr lang="en-ZA" sz="10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5933655859780881"/>
          <c:y val="0.13546489527612443"/>
          <c:w val="0.49941190421051207"/>
          <c:h val="0.79640667736275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= Least risk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1</c:v>
                </c:pt>
                <c:pt idx="7">
                  <c:v>13</c:v>
                </c:pt>
                <c:pt idx="8">
                  <c:v>11</c:v>
                </c:pt>
                <c:pt idx="9">
                  <c:v>14</c:v>
                </c:pt>
                <c:pt idx="10">
                  <c:v>12</c:v>
                </c:pt>
                <c:pt idx="11">
                  <c:v>14</c:v>
                </c:pt>
                <c:pt idx="12">
                  <c:v>13</c:v>
                </c:pt>
                <c:pt idx="13">
                  <c:v>18</c:v>
                </c:pt>
                <c:pt idx="14">
                  <c:v>17</c:v>
                </c:pt>
                <c:pt idx="15">
                  <c:v>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C$2:$C$17</c:f>
              <c:numCache>
                <c:formatCode>General</c:formatCode>
                <c:ptCount val="16"/>
                <c:pt idx="0">
                  <c:v>15</c:v>
                </c:pt>
                <c:pt idx="1">
                  <c:v>15</c:v>
                </c:pt>
                <c:pt idx="2">
                  <c:v>13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8</c:v>
                </c:pt>
                <c:pt idx="7">
                  <c:v>18</c:v>
                </c:pt>
                <c:pt idx="8">
                  <c:v>20</c:v>
                </c:pt>
                <c:pt idx="9">
                  <c:v>16</c:v>
                </c:pt>
                <c:pt idx="10">
                  <c:v>19</c:v>
                </c:pt>
                <c:pt idx="11">
                  <c:v>18</c:v>
                </c:pt>
                <c:pt idx="12">
                  <c:v>21</c:v>
                </c:pt>
                <c:pt idx="13">
                  <c:v>14</c:v>
                </c:pt>
                <c:pt idx="14">
                  <c:v>17</c:v>
                </c:pt>
                <c:pt idx="15">
                  <c:v>1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D$2:$D$17</c:f>
              <c:numCache>
                <c:formatCode>General</c:formatCode>
                <c:ptCount val="16"/>
                <c:pt idx="0">
                  <c:v>27</c:v>
                </c:pt>
                <c:pt idx="1">
                  <c:v>26</c:v>
                </c:pt>
                <c:pt idx="2">
                  <c:v>23</c:v>
                </c:pt>
                <c:pt idx="3">
                  <c:v>28</c:v>
                </c:pt>
                <c:pt idx="4">
                  <c:v>24</c:v>
                </c:pt>
                <c:pt idx="5">
                  <c:v>26</c:v>
                </c:pt>
                <c:pt idx="6">
                  <c:v>30</c:v>
                </c:pt>
                <c:pt idx="7">
                  <c:v>26</c:v>
                </c:pt>
                <c:pt idx="8">
                  <c:v>28</c:v>
                </c:pt>
                <c:pt idx="9">
                  <c:v>26</c:v>
                </c:pt>
                <c:pt idx="10">
                  <c:v>29</c:v>
                </c:pt>
                <c:pt idx="11">
                  <c:v>25</c:v>
                </c:pt>
                <c:pt idx="12">
                  <c:v>28</c:v>
                </c:pt>
                <c:pt idx="13">
                  <c:v>23</c:v>
                </c:pt>
                <c:pt idx="14">
                  <c:v>27</c:v>
                </c:pt>
                <c:pt idx="15">
                  <c:v>2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99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E$2:$E$17</c:f>
              <c:numCache>
                <c:formatCode>General</c:formatCode>
                <c:ptCount val="16"/>
                <c:pt idx="0">
                  <c:v>22</c:v>
                </c:pt>
                <c:pt idx="1">
                  <c:v>21</c:v>
                </c:pt>
                <c:pt idx="2">
                  <c:v>20</c:v>
                </c:pt>
                <c:pt idx="3">
                  <c:v>21</c:v>
                </c:pt>
                <c:pt idx="4">
                  <c:v>20</c:v>
                </c:pt>
                <c:pt idx="5">
                  <c:v>18</c:v>
                </c:pt>
                <c:pt idx="6">
                  <c:v>18</c:v>
                </c:pt>
                <c:pt idx="7">
                  <c:v>19</c:v>
                </c:pt>
                <c:pt idx="8">
                  <c:v>17</c:v>
                </c:pt>
                <c:pt idx="9">
                  <c:v>15</c:v>
                </c:pt>
                <c:pt idx="10">
                  <c:v>18</c:v>
                </c:pt>
                <c:pt idx="11">
                  <c:v>15</c:v>
                </c:pt>
                <c:pt idx="12">
                  <c:v>18</c:v>
                </c:pt>
                <c:pt idx="13">
                  <c:v>15</c:v>
                </c:pt>
                <c:pt idx="14">
                  <c:v>14</c:v>
                </c:pt>
                <c:pt idx="15">
                  <c:v>11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= Most risk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F$2:$F$17</c:f>
              <c:numCache>
                <c:formatCode>General</c:formatCode>
                <c:ptCount val="16"/>
                <c:pt idx="0">
                  <c:v>21</c:v>
                </c:pt>
                <c:pt idx="1">
                  <c:v>22</c:v>
                </c:pt>
                <c:pt idx="2">
                  <c:v>20</c:v>
                </c:pt>
                <c:pt idx="3">
                  <c:v>20</c:v>
                </c:pt>
                <c:pt idx="4">
                  <c:v>18</c:v>
                </c:pt>
                <c:pt idx="5">
                  <c:v>19</c:v>
                </c:pt>
                <c:pt idx="6">
                  <c:v>15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1</c:v>
                </c:pt>
                <c:pt idx="11">
                  <c:v>13</c:v>
                </c:pt>
                <c:pt idx="12">
                  <c:v>10</c:v>
                </c:pt>
                <c:pt idx="13">
                  <c:v>9</c:v>
                </c:pt>
                <c:pt idx="14">
                  <c:v>8</c:v>
                </c:pt>
                <c:pt idx="15">
                  <c:v>10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ot Applicabl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Import valuation</c:v>
                </c:pt>
                <c:pt idx="1">
                  <c:v>Product import classification</c:v>
                </c:pt>
                <c:pt idx="2">
                  <c:v>Inter-company transfer prices</c:v>
                </c:pt>
                <c:pt idx="3">
                  <c:v>Import documentation and licensing</c:v>
                </c:pt>
                <c:pt idx="4">
                  <c:v>Export documentation and licensing</c:v>
                </c:pt>
                <c:pt idx="5">
                  <c:v>Product export classification</c:v>
                </c:pt>
                <c:pt idx="6">
                  <c:v>Customs broker management</c:v>
                </c:pt>
                <c:pt idx="7">
                  <c:v>Free trade agreements</c:v>
                </c:pt>
                <c:pt idx="8">
                  <c:v>Supply chain security</c:v>
                </c:pt>
                <c:pt idx="9">
                  <c:v>Restricted party screening</c:v>
                </c:pt>
                <c:pt idx="10">
                  <c:v>Global supply chain management</c:v>
                </c:pt>
                <c:pt idx="11">
                  <c:v>Export incentives (duty drawback / advanced authorization etc.)</c:v>
                </c:pt>
                <c:pt idx="12">
                  <c:v>Global transportation management</c:v>
                </c:pt>
                <c:pt idx="13">
                  <c:v>Free trade zone / bonded warehouse management (FTZ )</c:v>
                </c:pt>
                <c:pt idx="14">
                  <c:v>Trade finance</c:v>
                </c:pt>
                <c:pt idx="15">
                  <c:v>Temporary imports</c:v>
                </c:pt>
              </c:strCache>
            </c:strRef>
          </c:cat>
          <c:val>
            <c:numRef>
              <c:f>Sheet1!$G$2:$G$17</c:f>
              <c:numCache>
                <c:formatCode>General</c:formatCode>
                <c:ptCount val="16"/>
                <c:pt idx="0">
                  <c:v>6</c:v>
                </c:pt>
                <c:pt idx="1">
                  <c:v>6</c:v>
                </c:pt>
                <c:pt idx="2">
                  <c:v>13</c:v>
                </c:pt>
                <c:pt idx="3">
                  <c:v>6</c:v>
                </c:pt>
                <c:pt idx="4">
                  <c:v>12</c:v>
                </c:pt>
                <c:pt idx="5">
                  <c:v>10</c:v>
                </c:pt>
                <c:pt idx="6">
                  <c:v>8</c:v>
                </c:pt>
                <c:pt idx="7">
                  <c:v>10</c:v>
                </c:pt>
                <c:pt idx="8">
                  <c:v>10</c:v>
                </c:pt>
                <c:pt idx="9">
                  <c:v>15</c:v>
                </c:pt>
                <c:pt idx="10">
                  <c:v>11</c:v>
                </c:pt>
                <c:pt idx="11">
                  <c:v>15</c:v>
                </c:pt>
                <c:pt idx="12">
                  <c:v>10</c:v>
                </c:pt>
                <c:pt idx="13">
                  <c:v>21</c:v>
                </c:pt>
                <c:pt idx="14">
                  <c:v>17</c:v>
                </c:pt>
                <c:pt idx="15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18575488"/>
        <c:axId val="418577024"/>
      </c:barChart>
      <c:catAx>
        <c:axId val="4185754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8577024"/>
        <c:crosses val="autoZero"/>
        <c:auto val="1"/>
        <c:lblAlgn val="ctr"/>
        <c:lblOffset val="100"/>
        <c:noMultiLvlLbl val="0"/>
      </c:catAx>
      <c:valAx>
        <c:axId val="418577024"/>
        <c:scaling>
          <c:orientation val="minMax"/>
          <c:max val="100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8575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solidFill>
            <a:schemeClr val="tx1"/>
          </a:solidFill>
          <a:prstDash val="sys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600" b="1" dirty="0" smtClean="0">
                <a:effectLst/>
              </a:rPr>
              <a:t>Challenges to managing trade-related activities</a:t>
            </a:r>
          </a:p>
          <a:p>
            <a:pPr>
              <a:defRPr sz="10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sz="1000" dirty="0" smtClean="0">
                <a:effectLst/>
              </a:rPr>
              <a:t>Q43. Please rate the following factors in terms of the challenge they pose to managing trade activities within your organization.</a:t>
            </a:r>
            <a:endParaRPr lang="en-ZA" sz="10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5933655859780881"/>
          <c:y val="0.13546489527612443"/>
          <c:w val="0.49941190421051207"/>
          <c:h val="0.79640667736275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= Not at all  challengin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1.1232449297971918</c:v>
                </c:pt>
                <c:pt idx="1">
                  <c:v>1.5625</c:v>
                </c:pt>
                <c:pt idx="2">
                  <c:v>1.024</c:v>
                </c:pt>
                <c:pt idx="3">
                  <c:v>1.7329910141206675</c:v>
                </c:pt>
                <c:pt idx="4">
                  <c:v>1.3835263835263836</c:v>
                </c:pt>
                <c:pt idx="5">
                  <c:v>1.64257555847569</c:v>
                </c:pt>
                <c:pt idx="6">
                  <c:v>2.0566419420094402</c:v>
                </c:pt>
                <c:pt idx="7">
                  <c:v>1.7675050985723997</c:v>
                </c:pt>
                <c:pt idx="8">
                  <c:v>2.0593368237347294</c:v>
                </c:pt>
                <c:pt idx="9">
                  <c:v>3.3650329188002925</c:v>
                </c:pt>
                <c:pt idx="10">
                  <c:v>3.205367126351099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C$2:$C$12</c:f>
              <c:numCache>
                <c:formatCode>0</c:formatCode>
                <c:ptCount val="11"/>
                <c:pt idx="0">
                  <c:v>3.9937597503900157</c:v>
                </c:pt>
                <c:pt idx="1">
                  <c:v>6.5051020408163271</c:v>
                </c:pt>
                <c:pt idx="2">
                  <c:v>6.1440000000000001</c:v>
                </c:pt>
                <c:pt idx="3">
                  <c:v>7.6379974326059044</c:v>
                </c:pt>
                <c:pt idx="4">
                  <c:v>6.3706563706563708</c:v>
                </c:pt>
                <c:pt idx="5">
                  <c:v>8.5413929040735876</c:v>
                </c:pt>
                <c:pt idx="6">
                  <c:v>9.0357383681726233</c:v>
                </c:pt>
                <c:pt idx="7">
                  <c:v>9.1774303195105364</c:v>
                </c:pt>
                <c:pt idx="8">
                  <c:v>11.657940663176266</c:v>
                </c:pt>
                <c:pt idx="9">
                  <c:v>13.825896122896856</c:v>
                </c:pt>
                <c:pt idx="10">
                  <c:v>14.5359672008945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D$2:$D$12</c:f>
              <c:numCache>
                <c:formatCode>0</c:formatCode>
                <c:ptCount val="11"/>
                <c:pt idx="0">
                  <c:v>22.46489859594384</c:v>
                </c:pt>
                <c:pt idx="1">
                  <c:v>20.758928571428573</c:v>
                </c:pt>
                <c:pt idx="2">
                  <c:v>23.327999999999999</c:v>
                </c:pt>
                <c:pt idx="3">
                  <c:v>18.966623876765084</c:v>
                </c:pt>
                <c:pt idx="4">
                  <c:v>23.745173745173744</c:v>
                </c:pt>
                <c:pt idx="5">
                  <c:v>21.977660972404731</c:v>
                </c:pt>
                <c:pt idx="6">
                  <c:v>25.792312879298716</c:v>
                </c:pt>
                <c:pt idx="7">
                  <c:v>26.614547926580556</c:v>
                </c:pt>
                <c:pt idx="8">
                  <c:v>25.654450261780106</c:v>
                </c:pt>
                <c:pt idx="9">
                  <c:v>24.579370885149963</c:v>
                </c:pt>
                <c:pt idx="10">
                  <c:v>28.848304137159896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F99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E$2:$E$12</c:f>
              <c:numCache>
                <c:formatCode>0</c:formatCode>
                <c:ptCount val="11"/>
                <c:pt idx="0">
                  <c:v>36.567862714508578</c:v>
                </c:pt>
                <c:pt idx="1">
                  <c:v>31.122448979591837</c:v>
                </c:pt>
                <c:pt idx="2">
                  <c:v>35.839999999999996</c:v>
                </c:pt>
                <c:pt idx="3">
                  <c:v>29.910141206675224</c:v>
                </c:pt>
                <c:pt idx="4">
                  <c:v>31.531531531531531</c:v>
                </c:pt>
                <c:pt idx="5">
                  <c:v>28.909329829172144</c:v>
                </c:pt>
                <c:pt idx="6">
                  <c:v>27.646662171274443</c:v>
                </c:pt>
                <c:pt idx="7">
                  <c:v>32.902787219578514</c:v>
                </c:pt>
                <c:pt idx="8">
                  <c:v>29.598603839441534</c:v>
                </c:pt>
                <c:pt idx="9">
                  <c:v>28.52962692026335</c:v>
                </c:pt>
                <c:pt idx="10">
                  <c:v>27.58106597092806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= Extremely  challenging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F$2:$F$12</c:f>
              <c:numCache>
                <c:formatCode>0</c:formatCode>
                <c:ptCount val="11"/>
                <c:pt idx="0">
                  <c:v>29.485179407176286</c:v>
                </c:pt>
                <c:pt idx="1">
                  <c:v>32.20663265306122</c:v>
                </c:pt>
                <c:pt idx="2">
                  <c:v>27.52</c:v>
                </c:pt>
                <c:pt idx="3">
                  <c:v>34.820282413350448</c:v>
                </c:pt>
                <c:pt idx="4">
                  <c:v>31.37065637065637</c:v>
                </c:pt>
                <c:pt idx="5">
                  <c:v>32.03022339027595</c:v>
                </c:pt>
                <c:pt idx="6">
                  <c:v>26.972353337828725</c:v>
                </c:pt>
                <c:pt idx="7">
                  <c:v>22.603670972127805</c:v>
                </c:pt>
                <c:pt idx="8">
                  <c:v>23.909249563699824</c:v>
                </c:pt>
                <c:pt idx="9">
                  <c:v>22.677395757132405</c:v>
                </c:pt>
                <c:pt idx="10">
                  <c:v>17.331345508758851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Not Applicabl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nterpreting and communicating regulatory requirements across sites and  countries</c:v>
                </c:pt>
                <c:pt idx="1">
                  <c:v>Manual processes and disparate systems</c:v>
                </c:pt>
                <c:pt idx="2">
                  <c:v>Disparities in requirements between countries</c:v>
                </c:pt>
                <c:pt idx="3">
                  <c:v>Lack of automated systems</c:v>
                </c:pt>
                <c:pt idx="4">
                  <c:v>Complex and changing requirements with local government agencies</c:v>
                </c:pt>
                <c:pt idx="5">
                  <c:v>Inefficient processes / systems</c:v>
                </c:pt>
                <c:pt idx="6">
                  <c:v>Inefficient import / export  KPIs and metrics</c:v>
                </c:pt>
                <c:pt idx="7">
                  <c:v>Visibility to all elements in a trade transaction </c:v>
                </c:pt>
                <c:pt idx="8">
                  <c:v>Detailed Recordkeeping and Audit Trails</c:v>
                </c:pt>
                <c:pt idx="9">
                  <c:v>Delays and fines caused by compliance and documentation errors</c:v>
                </c:pt>
                <c:pt idx="10">
                  <c:v>Lack of historical transactional data</c:v>
                </c:pt>
              </c:strCache>
            </c:strRef>
          </c:cat>
          <c:val>
            <c:numRef>
              <c:f>Sheet1!$G$2:$G$12</c:f>
              <c:numCache>
                <c:formatCode>0</c:formatCode>
                <c:ptCount val="11"/>
                <c:pt idx="0">
                  <c:v>6.3650546021840881</c:v>
                </c:pt>
                <c:pt idx="1">
                  <c:v>7.8443877551020407</c:v>
                </c:pt>
                <c:pt idx="2">
                  <c:v>6.1440000000000001</c:v>
                </c:pt>
                <c:pt idx="3">
                  <c:v>6.9319640564826699</c:v>
                </c:pt>
                <c:pt idx="4">
                  <c:v>5.5984555984555984</c:v>
                </c:pt>
                <c:pt idx="5">
                  <c:v>6.8988173455978981</c:v>
                </c:pt>
                <c:pt idx="6">
                  <c:v>8.496291301416047</c:v>
                </c:pt>
                <c:pt idx="7">
                  <c:v>6.9340584636301843</c:v>
                </c:pt>
                <c:pt idx="8">
                  <c:v>7.1204188481675397</c:v>
                </c:pt>
                <c:pt idx="9">
                  <c:v>7.0226773957571318</c:v>
                </c:pt>
                <c:pt idx="10">
                  <c:v>8.4979500559075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6024064"/>
        <c:axId val="136026752"/>
      </c:barChart>
      <c:catAx>
        <c:axId val="1360240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026752"/>
        <c:crosses val="autoZero"/>
        <c:auto val="1"/>
        <c:lblAlgn val="ctr"/>
        <c:lblOffset val="100"/>
        <c:noMultiLvlLbl val="0"/>
      </c:catAx>
      <c:valAx>
        <c:axId val="136026752"/>
        <c:scaling>
          <c:orientation val="minMax"/>
          <c:max val="100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024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solidFill>
            <a:schemeClr val="tx1"/>
          </a:solidFill>
          <a:prstDash val="sys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gif"/><Relationship Id="rId2" Type="http://schemas.openxmlformats.org/officeDocument/2006/relationships/image" Target="../media/image84.gif"/><Relationship Id="rId1" Type="http://schemas.openxmlformats.org/officeDocument/2006/relationships/image" Target="../media/image83.gif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gif"/><Relationship Id="rId7" Type="http://schemas.openxmlformats.org/officeDocument/2006/relationships/image" Target="../media/image92.gif"/><Relationship Id="rId2" Type="http://schemas.openxmlformats.org/officeDocument/2006/relationships/image" Target="../media/image87.gif"/><Relationship Id="rId1" Type="http://schemas.openxmlformats.org/officeDocument/2006/relationships/image" Target="../media/image86.gif"/><Relationship Id="rId6" Type="http://schemas.openxmlformats.org/officeDocument/2006/relationships/image" Target="../media/image91.gif"/><Relationship Id="rId5" Type="http://schemas.openxmlformats.org/officeDocument/2006/relationships/image" Target="../media/image90.gif"/><Relationship Id="rId10" Type="http://schemas.openxmlformats.org/officeDocument/2006/relationships/image" Target="../media/image95.png"/><Relationship Id="rId4" Type="http://schemas.openxmlformats.org/officeDocument/2006/relationships/image" Target="../media/image89.gif"/><Relationship Id="rId9" Type="http://schemas.openxmlformats.org/officeDocument/2006/relationships/image" Target="../media/image94.pn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gif"/><Relationship Id="rId3" Type="http://schemas.openxmlformats.org/officeDocument/2006/relationships/image" Target="../media/image98.png"/><Relationship Id="rId7" Type="http://schemas.openxmlformats.org/officeDocument/2006/relationships/image" Target="../media/image102.gif"/><Relationship Id="rId2" Type="http://schemas.openxmlformats.org/officeDocument/2006/relationships/image" Target="../media/image97.png"/><Relationship Id="rId1" Type="http://schemas.openxmlformats.org/officeDocument/2006/relationships/image" Target="../media/image96.png"/><Relationship Id="rId6" Type="http://schemas.openxmlformats.org/officeDocument/2006/relationships/image" Target="../media/image101.gif"/><Relationship Id="rId11" Type="http://schemas.openxmlformats.org/officeDocument/2006/relationships/image" Target="../media/image106.png"/><Relationship Id="rId5" Type="http://schemas.openxmlformats.org/officeDocument/2006/relationships/image" Target="../media/image100.gif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diagrams/_rels/data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09.gif"/><Relationship Id="rId7" Type="http://schemas.openxmlformats.org/officeDocument/2006/relationships/image" Target="../media/image113.png"/><Relationship Id="rId2" Type="http://schemas.openxmlformats.org/officeDocument/2006/relationships/image" Target="../media/image108.gif"/><Relationship Id="rId1" Type="http://schemas.openxmlformats.org/officeDocument/2006/relationships/image" Target="../media/image107.png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image" Target="../media/image116.png"/><Relationship Id="rId1" Type="http://schemas.openxmlformats.org/officeDocument/2006/relationships/image" Target="../media/image115.png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image" Target="../media/image122.png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image" Target="../media/image128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gif"/><Relationship Id="rId2" Type="http://schemas.openxmlformats.org/officeDocument/2006/relationships/image" Target="../media/image84.gif"/><Relationship Id="rId1" Type="http://schemas.openxmlformats.org/officeDocument/2006/relationships/image" Target="../media/image83.gif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gif"/><Relationship Id="rId7" Type="http://schemas.openxmlformats.org/officeDocument/2006/relationships/image" Target="../media/image92.gif"/><Relationship Id="rId2" Type="http://schemas.openxmlformats.org/officeDocument/2006/relationships/image" Target="../media/image87.gif"/><Relationship Id="rId1" Type="http://schemas.openxmlformats.org/officeDocument/2006/relationships/image" Target="../media/image86.gif"/><Relationship Id="rId6" Type="http://schemas.openxmlformats.org/officeDocument/2006/relationships/image" Target="../media/image91.gif"/><Relationship Id="rId5" Type="http://schemas.openxmlformats.org/officeDocument/2006/relationships/image" Target="../media/image90.gif"/><Relationship Id="rId10" Type="http://schemas.openxmlformats.org/officeDocument/2006/relationships/image" Target="../media/image95.png"/><Relationship Id="rId4" Type="http://schemas.openxmlformats.org/officeDocument/2006/relationships/image" Target="../media/image89.gif"/><Relationship Id="rId9" Type="http://schemas.openxmlformats.org/officeDocument/2006/relationships/image" Target="../media/image94.pn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gif"/><Relationship Id="rId3" Type="http://schemas.openxmlformats.org/officeDocument/2006/relationships/image" Target="../media/image98.png"/><Relationship Id="rId7" Type="http://schemas.openxmlformats.org/officeDocument/2006/relationships/image" Target="../media/image102.gif"/><Relationship Id="rId2" Type="http://schemas.openxmlformats.org/officeDocument/2006/relationships/image" Target="../media/image97.png"/><Relationship Id="rId1" Type="http://schemas.openxmlformats.org/officeDocument/2006/relationships/image" Target="../media/image96.png"/><Relationship Id="rId6" Type="http://schemas.openxmlformats.org/officeDocument/2006/relationships/image" Target="../media/image101.gif"/><Relationship Id="rId11" Type="http://schemas.openxmlformats.org/officeDocument/2006/relationships/image" Target="../media/image106.png"/><Relationship Id="rId5" Type="http://schemas.openxmlformats.org/officeDocument/2006/relationships/image" Target="../media/image100.gif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diagrams/_rels/drawing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09.gif"/><Relationship Id="rId7" Type="http://schemas.openxmlformats.org/officeDocument/2006/relationships/image" Target="../media/image113.png"/><Relationship Id="rId2" Type="http://schemas.openxmlformats.org/officeDocument/2006/relationships/image" Target="../media/image108.gif"/><Relationship Id="rId1" Type="http://schemas.openxmlformats.org/officeDocument/2006/relationships/image" Target="../media/image107.png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image" Target="../media/image116.png"/><Relationship Id="rId1" Type="http://schemas.openxmlformats.org/officeDocument/2006/relationships/image" Target="../media/image115.png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image" Target="../media/image122.png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image" Target="../media/image128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34A66D-3345-4710-AF75-CA54BF0850F8}" type="doc">
      <dgm:prSet loTypeId="urn:microsoft.com/office/officeart/2005/8/layout/process5" loCatId="process" qsTypeId="urn:microsoft.com/office/officeart/2005/8/quickstyle/simple5" qsCatId="simple" csTypeId="urn:microsoft.com/office/officeart/2005/8/colors/accent0_2" csCatId="mainScheme" phldr="1"/>
      <dgm:spPr/>
      <dgm:t>
        <a:bodyPr/>
        <a:lstStyle/>
        <a:p>
          <a:endParaRPr lang="pt-BR"/>
        </a:p>
      </dgm:t>
    </dgm:pt>
    <dgm:pt modelId="{61FB7C9B-3893-4EBF-A8E0-CC10DA35DBB3}">
      <dgm:prSet phldrT="[Text]" custT="1"/>
      <dgm:spPr/>
      <dgm:t>
        <a:bodyPr/>
        <a:lstStyle/>
        <a:p>
          <a:r>
            <a:rPr lang="es-ES" sz="1000" b="1" noProof="0" smtClean="0">
              <a:solidFill>
                <a:schemeClr val="bg1">
                  <a:lumMod val="50000"/>
                </a:schemeClr>
              </a:solidFill>
            </a:rPr>
            <a:t>KPI’S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C026D6AC-1F2B-411D-852A-11FAE7E2375B}" type="parTrans" cxnId="{8A4619A3-0EE5-4640-A218-C217EC3E95ED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0F56F631-7D79-4954-9C7B-AAE3419011B9}" type="sibTrans" cxnId="{8A4619A3-0EE5-4640-A218-C217EC3E95ED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AD54DDF6-1C94-4BE7-BA1B-E2199A580A7E}">
      <dgm:prSet phldrT="[Text]" custT="1"/>
      <dgm:spPr/>
      <dgm:t>
        <a:bodyPr/>
        <a:lstStyle/>
        <a:p>
          <a:r>
            <a:rPr lang="es-ES" sz="1000" b="1" noProof="0" smtClean="0">
              <a:solidFill>
                <a:schemeClr val="bg1">
                  <a:lumMod val="50000"/>
                </a:schemeClr>
              </a:solidFill>
            </a:rPr>
            <a:t>INTEGRA SOCIOS LOGÍSTICOS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C38CC1FF-F4FB-457D-A2F9-AD85D633C0BF}" type="parTrans" cxnId="{F23447ED-F103-4A8D-8953-0DF79D3EC4F3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4E6493B8-5180-4407-AA98-A92E6B49978E}" type="sibTrans" cxnId="{F23447ED-F103-4A8D-8953-0DF79D3EC4F3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CF007DB7-9C10-43DF-BC4D-398D5333B247}">
      <dgm:prSet phldrT="[Text]" custT="1"/>
      <dgm:spPr/>
      <dgm:t>
        <a:bodyPr/>
        <a:lstStyle/>
        <a:p>
          <a:r>
            <a:rPr lang="es-ES" sz="1000" b="1" noProof="0" dirty="0" smtClean="0">
              <a:solidFill>
                <a:schemeClr val="bg1">
                  <a:lumMod val="50000"/>
                </a:schemeClr>
              </a:solidFill>
            </a:rPr>
            <a:t>AUTOMATIZACIÓN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6947B658-2102-4F09-A058-00E48848AD2C}" type="parTrans" cxnId="{A651CEEA-B998-4BAF-B6DB-FE6CA0A21D95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281C0ADD-DE35-44BA-B68D-B953A9563606}" type="sibTrans" cxnId="{A651CEEA-B998-4BAF-B6DB-FE6CA0A21D95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ACB36EA1-655B-4862-8A78-F5FA0EF3E334}">
      <dgm:prSet phldrT="[Text]" custT="1"/>
      <dgm:spPr/>
      <dgm:t>
        <a:bodyPr/>
        <a:lstStyle/>
        <a:p>
          <a:r>
            <a:rPr lang="es-ES" sz="1000" b="1" noProof="0" smtClean="0">
              <a:solidFill>
                <a:schemeClr val="bg1">
                  <a:lumMod val="50000"/>
                </a:schemeClr>
              </a:solidFill>
            </a:rPr>
            <a:t>REDUCCIÓN TIEMPOS LOGÍSTICOS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43889DC0-A953-487E-B000-4847FE63C636}" type="parTrans" cxnId="{4F3AAF96-F6AC-4B17-85EB-0D80C5B32D36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B513249C-774F-461F-B2B9-5BBF5546B11A}" type="sibTrans" cxnId="{4F3AAF96-F6AC-4B17-85EB-0D80C5B32D36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B7AF1752-1761-46B7-843A-24BFBC4E6EF5}">
      <dgm:prSet phldrT="[Text]" custT="1"/>
      <dgm:spPr/>
      <dgm:t>
        <a:bodyPr/>
        <a:lstStyle/>
        <a:p>
          <a:r>
            <a:rPr lang="es-ES" sz="1000" b="1" noProof="0" dirty="0" smtClean="0">
              <a:solidFill>
                <a:schemeClr val="bg1">
                  <a:lumMod val="50000"/>
                </a:schemeClr>
              </a:solidFill>
            </a:rPr>
            <a:t>REGÍMENES ESPECIALES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6FB48C1B-6DE0-4609-A423-2112575D2884}" type="parTrans" cxnId="{86337415-7D26-445E-AB4D-9165E89B415C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70A41DD5-87EA-4D8D-BF71-3625EF507834}" type="sibTrans" cxnId="{86337415-7D26-445E-AB4D-9165E89B415C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EB64200F-C549-42F6-AEBB-8579B258313D}">
      <dgm:prSet phldrT="[Text]" custT="1"/>
      <dgm:spPr/>
      <dgm:t>
        <a:bodyPr/>
        <a:lstStyle/>
        <a:p>
          <a:r>
            <a:rPr lang="es-ES" sz="1000" b="1" noProof="0" smtClean="0">
              <a:solidFill>
                <a:schemeClr val="bg1">
                  <a:lumMod val="50000"/>
                </a:schemeClr>
              </a:solidFill>
            </a:rPr>
            <a:t>INFORMACIÓN EN TIEMPO REAL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87F5DA48-8375-4939-B2BE-BAA5FA46DBAA}" type="parTrans" cxnId="{C029BF0E-AFA7-45B6-8456-057A13C88C15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6A760EE2-3E02-42CE-B856-FFB2BB062430}" type="sibTrans" cxnId="{C029BF0E-AFA7-45B6-8456-057A13C88C15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B7F264B3-D6B2-4B29-929B-DAF17A8AFD59}">
      <dgm:prSet phldrT="[Text]" custT="1"/>
      <dgm:spPr/>
      <dgm:t>
        <a:bodyPr/>
        <a:lstStyle/>
        <a:p>
          <a:r>
            <a:rPr lang="es-ES" sz="900" b="1" noProof="0" dirty="0" smtClean="0">
              <a:solidFill>
                <a:schemeClr val="bg1">
                  <a:lumMod val="50000"/>
                </a:schemeClr>
              </a:solidFill>
            </a:rPr>
            <a:t>ESTANDARIZACIÓN DE PROCESOS</a:t>
          </a:r>
          <a:endParaRPr lang="es-ES" sz="9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AEA241AB-36BD-4210-B9FB-0E0A771576AF}" type="parTrans" cxnId="{8D2EBDB1-5B96-4088-BB72-F9A07FB4A0A3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4540B468-01F4-4B2D-BD07-2125E5FA9F15}" type="sibTrans" cxnId="{8D2EBDB1-5B96-4088-BB72-F9A07FB4A0A3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4133C43C-8EFD-4E7B-8CD9-92AC7D7DBA35}">
      <dgm:prSet phldrT="[Text]" custT="1"/>
      <dgm:spPr/>
      <dgm:t>
        <a:bodyPr/>
        <a:lstStyle/>
        <a:p>
          <a:r>
            <a:rPr lang="es-ES" sz="1000" b="1" noProof="0" smtClean="0">
              <a:solidFill>
                <a:schemeClr val="bg1">
                  <a:lumMod val="50000"/>
                </a:schemeClr>
              </a:solidFill>
            </a:rPr>
            <a:t>VISIBILIDAD Y PREVISIBILIDAD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8CF802FB-01DA-491D-8A1B-D03B2659E5F9}" type="parTrans" cxnId="{109A85F9-5675-43A1-BE54-D1C76BA069D2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66EA3BC5-75A4-4C5D-852F-51EB5DB7A83D}" type="sibTrans" cxnId="{109A85F9-5675-43A1-BE54-D1C76BA069D2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3CDEDEFF-2A23-4B75-9B2C-70724DE89D8E}">
      <dgm:prSet custT="1"/>
      <dgm:spPr/>
      <dgm:t>
        <a:bodyPr/>
        <a:lstStyle/>
        <a:p>
          <a:r>
            <a:rPr lang="es-ES" sz="1000" b="1" noProof="0" dirty="0" smtClean="0">
              <a:solidFill>
                <a:schemeClr val="bg1">
                  <a:lumMod val="50000"/>
                </a:schemeClr>
              </a:solidFill>
            </a:rPr>
            <a:t>VALIDACION DE CUMPLIMIENTO</a:t>
          </a:r>
          <a:endParaRPr lang="es-ES" sz="10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1494610C-B275-4284-AAEA-3FD58698CE01}" type="parTrans" cxnId="{0D508F64-0951-4ACF-BB51-683C796C393B}">
      <dgm:prSet/>
      <dgm:spPr/>
      <dgm:t>
        <a:bodyPr/>
        <a:lstStyle/>
        <a:p>
          <a:endParaRPr lang="es-ES" sz="14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0F2F9AFA-AAB5-4031-8400-F707777F02B1}" type="sibTrans" cxnId="{0D508F64-0951-4ACF-BB51-683C796C393B}">
      <dgm:prSet custT="1"/>
      <dgm:spPr>
        <a:solidFill>
          <a:schemeClr val="tx1">
            <a:lumMod val="40000"/>
            <a:lumOff val="60000"/>
          </a:schemeClr>
        </a:soli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</dgm:spPr>
      <dgm:t>
        <a:bodyPr/>
        <a:lstStyle/>
        <a:p>
          <a:endParaRPr lang="es-ES" sz="700" b="1" noProof="0" dirty="0">
            <a:solidFill>
              <a:schemeClr val="bg1">
                <a:lumMod val="50000"/>
              </a:schemeClr>
            </a:solidFill>
          </a:endParaRPr>
        </a:p>
      </dgm:t>
    </dgm:pt>
    <dgm:pt modelId="{82771297-A3DC-4598-936D-9C6F7939471C}" type="pres">
      <dgm:prSet presAssocID="{8E34A66D-3345-4710-AF75-CA54BF0850F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8D65571A-66FE-4918-B98C-0B460A7FB58C}" type="pres">
      <dgm:prSet presAssocID="{61FB7C9B-3893-4EBF-A8E0-CC10DA35DBB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8056FCF-1299-48A3-9C8B-D45F79E28E8E}" type="pres">
      <dgm:prSet presAssocID="{0F56F631-7D79-4954-9C7B-AAE3419011B9}" presName="sibTrans" presStyleLbl="sibTrans2D1" presStyleIdx="0" presStyleCnt="8"/>
      <dgm:spPr/>
      <dgm:t>
        <a:bodyPr/>
        <a:lstStyle/>
        <a:p>
          <a:endParaRPr lang="pt-BR"/>
        </a:p>
      </dgm:t>
    </dgm:pt>
    <dgm:pt modelId="{B545A5BD-833D-4352-B755-40406B2AE865}" type="pres">
      <dgm:prSet presAssocID="{0F56F631-7D79-4954-9C7B-AAE3419011B9}" presName="connectorText" presStyleLbl="sibTrans2D1" presStyleIdx="0" presStyleCnt="8"/>
      <dgm:spPr/>
      <dgm:t>
        <a:bodyPr/>
        <a:lstStyle/>
        <a:p>
          <a:endParaRPr lang="pt-BR"/>
        </a:p>
      </dgm:t>
    </dgm:pt>
    <dgm:pt modelId="{315C27A1-E2D2-49D4-B8A6-25A8F067E6FD}" type="pres">
      <dgm:prSet presAssocID="{AD54DDF6-1C94-4BE7-BA1B-E2199A580A7E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84BFF19-7C10-45B5-ABEF-53C6949AD5DA}" type="pres">
      <dgm:prSet presAssocID="{4E6493B8-5180-4407-AA98-A92E6B49978E}" presName="sibTrans" presStyleLbl="sibTrans2D1" presStyleIdx="1" presStyleCnt="8"/>
      <dgm:spPr/>
      <dgm:t>
        <a:bodyPr/>
        <a:lstStyle/>
        <a:p>
          <a:endParaRPr lang="pt-BR"/>
        </a:p>
      </dgm:t>
    </dgm:pt>
    <dgm:pt modelId="{22587621-1638-465D-8B82-1DD0030332EC}" type="pres">
      <dgm:prSet presAssocID="{4E6493B8-5180-4407-AA98-A92E6B49978E}" presName="connectorText" presStyleLbl="sibTrans2D1" presStyleIdx="1" presStyleCnt="8"/>
      <dgm:spPr/>
      <dgm:t>
        <a:bodyPr/>
        <a:lstStyle/>
        <a:p>
          <a:endParaRPr lang="pt-BR"/>
        </a:p>
      </dgm:t>
    </dgm:pt>
    <dgm:pt modelId="{1CF08A3B-FF8F-4278-8864-3571808672E0}" type="pres">
      <dgm:prSet presAssocID="{CF007DB7-9C10-43DF-BC4D-398D5333B247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76C288A-F61D-4823-894A-C0110A7CCBF8}" type="pres">
      <dgm:prSet presAssocID="{281C0ADD-DE35-44BA-B68D-B953A9563606}" presName="sibTrans" presStyleLbl="sibTrans2D1" presStyleIdx="2" presStyleCnt="8"/>
      <dgm:spPr/>
      <dgm:t>
        <a:bodyPr/>
        <a:lstStyle/>
        <a:p>
          <a:endParaRPr lang="pt-BR"/>
        </a:p>
      </dgm:t>
    </dgm:pt>
    <dgm:pt modelId="{9F4C71F2-CE48-4B96-8603-48A521D52558}" type="pres">
      <dgm:prSet presAssocID="{281C0ADD-DE35-44BA-B68D-B953A9563606}" presName="connectorText" presStyleLbl="sibTrans2D1" presStyleIdx="2" presStyleCnt="8"/>
      <dgm:spPr/>
      <dgm:t>
        <a:bodyPr/>
        <a:lstStyle/>
        <a:p>
          <a:endParaRPr lang="pt-BR"/>
        </a:p>
      </dgm:t>
    </dgm:pt>
    <dgm:pt modelId="{52C1523F-F336-4201-9554-DCF8581A22E2}" type="pres">
      <dgm:prSet presAssocID="{ACB36EA1-655B-4862-8A78-F5FA0EF3E334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2B0A5BF-297D-44EA-8D77-FDA7A5B2B405}" type="pres">
      <dgm:prSet presAssocID="{B513249C-774F-461F-B2B9-5BBF5546B11A}" presName="sibTrans" presStyleLbl="sibTrans2D1" presStyleIdx="3" presStyleCnt="8"/>
      <dgm:spPr/>
      <dgm:t>
        <a:bodyPr/>
        <a:lstStyle/>
        <a:p>
          <a:endParaRPr lang="pt-BR"/>
        </a:p>
      </dgm:t>
    </dgm:pt>
    <dgm:pt modelId="{72C52BE3-06AA-4C43-BFC3-342828549569}" type="pres">
      <dgm:prSet presAssocID="{B513249C-774F-461F-B2B9-5BBF5546B11A}" presName="connectorText" presStyleLbl="sibTrans2D1" presStyleIdx="3" presStyleCnt="8"/>
      <dgm:spPr/>
      <dgm:t>
        <a:bodyPr/>
        <a:lstStyle/>
        <a:p>
          <a:endParaRPr lang="pt-BR"/>
        </a:p>
      </dgm:t>
    </dgm:pt>
    <dgm:pt modelId="{032B7905-B147-4137-A6C8-8D2A2C21E28A}" type="pres">
      <dgm:prSet presAssocID="{B7AF1752-1761-46B7-843A-24BFBC4E6EF5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0EDB19E-327C-499D-8FC7-7038EBD8F383}" type="pres">
      <dgm:prSet presAssocID="{70A41DD5-87EA-4D8D-BF71-3625EF507834}" presName="sibTrans" presStyleLbl="sibTrans2D1" presStyleIdx="4" presStyleCnt="8"/>
      <dgm:spPr/>
      <dgm:t>
        <a:bodyPr/>
        <a:lstStyle/>
        <a:p>
          <a:endParaRPr lang="pt-BR"/>
        </a:p>
      </dgm:t>
    </dgm:pt>
    <dgm:pt modelId="{D74E5BC0-14BF-4718-B736-7F389CC46A70}" type="pres">
      <dgm:prSet presAssocID="{70A41DD5-87EA-4D8D-BF71-3625EF507834}" presName="connectorText" presStyleLbl="sibTrans2D1" presStyleIdx="4" presStyleCnt="8"/>
      <dgm:spPr/>
      <dgm:t>
        <a:bodyPr/>
        <a:lstStyle/>
        <a:p>
          <a:endParaRPr lang="pt-BR"/>
        </a:p>
      </dgm:t>
    </dgm:pt>
    <dgm:pt modelId="{158EB984-FD49-456C-BE6F-78B2C43F2042}" type="pres">
      <dgm:prSet presAssocID="{EB64200F-C549-42F6-AEBB-8579B258313D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A146258-0701-46FC-8080-455F788D0599}" type="pres">
      <dgm:prSet presAssocID="{6A760EE2-3E02-42CE-B856-FFB2BB062430}" presName="sibTrans" presStyleLbl="sibTrans2D1" presStyleIdx="5" presStyleCnt="8"/>
      <dgm:spPr/>
      <dgm:t>
        <a:bodyPr/>
        <a:lstStyle/>
        <a:p>
          <a:endParaRPr lang="pt-BR"/>
        </a:p>
      </dgm:t>
    </dgm:pt>
    <dgm:pt modelId="{6BAA26E7-5C22-48CB-BCE2-D76DD82EE603}" type="pres">
      <dgm:prSet presAssocID="{6A760EE2-3E02-42CE-B856-FFB2BB062430}" presName="connectorText" presStyleLbl="sibTrans2D1" presStyleIdx="5" presStyleCnt="8"/>
      <dgm:spPr/>
      <dgm:t>
        <a:bodyPr/>
        <a:lstStyle/>
        <a:p>
          <a:endParaRPr lang="pt-BR"/>
        </a:p>
      </dgm:t>
    </dgm:pt>
    <dgm:pt modelId="{29FAD8AD-00B7-4D71-98EE-F567172670DD}" type="pres">
      <dgm:prSet presAssocID="{B7F264B3-D6B2-4B29-929B-DAF17A8AFD59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9759101B-6EB9-46B8-8CD8-34C6A3E246FE}" type="pres">
      <dgm:prSet presAssocID="{4540B468-01F4-4B2D-BD07-2125E5FA9F15}" presName="sibTrans" presStyleLbl="sibTrans2D1" presStyleIdx="6" presStyleCnt="8"/>
      <dgm:spPr/>
      <dgm:t>
        <a:bodyPr/>
        <a:lstStyle/>
        <a:p>
          <a:endParaRPr lang="pt-BR"/>
        </a:p>
      </dgm:t>
    </dgm:pt>
    <dgm:pt modelId="{1682E402-18A5-4FF4-AD23-9778589A0D9A}" type="pres">
      <dgm:prSet presAssocID="{4540B468-01F4-4B2D-BD07-2125E5FA9F15}" presName="connectorText" presStyleLbl="sibTrans2D1" presStyleIdx="6" presStyleCnt="8"/>
      <dgm:spPr/>
      <dgm:t>
        <a:bodyPr/>
        <a:lstStyle/>
        <a:p>
          <a:endParaRPr lang="pt-BR"/>
        </a:p>
      </dgm:t>
    </dgm:pt>
    <dgm:pt modelId="{4CA157D1-5348-448C-8FBF-65C24768C15F}" type="pres">
      <dgm:prSet presAssocID="{3CDEDEFF-2A23-4B75-9B2C-70724DE89D8E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FE0786D7-014A-4AED-8598-97589BB76B28}" type="pres">
      <dgm:prSet presAssocID="{0F2F9AFA-AAB5-4031-8400-F707777F02B1}" presName="sibTrans" presStyleLbl="sibTrans2D1" presStyleIdx="7" presStyleCnt="8"/>
      <dgm:spPr/>
      <dgm:t>
        <a:bodyPr/>
        <a:lstStyle/>
        <a:p>
          <a:endParaRPr lang="pt-BR"/>
        </a:p>
      </dgm:t>
    </dgm:pt>
    <dgm:pt modelId="{79D67D28-5B81-4D0E-9185-0FF936E9BBFB}" type="pres">
      <dgm:prSet presAssocID="{0F2F9AFA-AAB5-4031-8400-F707777F02B1}" presName="connectorText" presStyleLbl="sibTrans2D1" presStyleIdx="7" presStyleCnt="8"/>
      <dgm:spPr/>
      <dgm:t>
        <a:bodyPr/>
        <a:lstStyle/>
        <a:p>
          <a:endParaRPr lang="pt-BR"/>
        </a:p>
      </dgm:t>
    </dgm:pt>
    <dgm:pt modelId="{BE0B01C6-6303-4536-BD3E-FF7A931A26BD}" type="pres">
      <dgm:prSet presAssocID="{4133C43C-8EFD-4E7B-8CD9-92AC7D7DBA35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D508F64-0951-4ACF-BB51-683C796C393B}" srcId="{8E34A66D-3345-4710-AF75-CA54BF0850F8}" destId="{3CDEDEFF-2A23-4B75-9B2C-70724DE89D8E}" srcOrd="7" destOrd="0" parTransId="{1494610C-B275-4284-AAEA-3FD58698CE01}" sibTransId="{0F2F9AFA-AAB5-4031-8400-F707777F02B1}"/>
    <dgm:cxn modelId="{D8C2659F-01DC-4D02-8D8B-159916D1DD43}" type="presOf" srcId="{4133C43C-8EFD-4E7B-8CD9-92AC7D7DBA35}" destId="{BE0B01C6-6303-4536-BD3E-FF7A931A26BD}" srcOrd="0" destOrd="0" presId="urn:microsoft.com/office/officeart/2005/8/layout/process5"/>
    <dgm:cxn modelId="{4F3AAF96-F6AC-4B17-85EB-0D80C5B32D36}" srcId="{8E34A66D-3345-4710-AF75-CA54BF0850F8}" destId="{ACB36EA1-655B-4862-8A78-F5FA0EF3E334}" srcOrd="3" destOrd="0" parTransId="{43889DC0-A953-487E-B000-4847FE63C636}" sibTransId="{B513249C-774F-461F-B2B9-5BBF5546B11A}"/>
    <dgm:cxn modelId="{A651CEEA-B998-4BAF-B6DB-FE6CA0A21D95}" srcId="{8E34A66D-3345-4710-AF75-CA54BF0850F8}" destId="{CF007DB7-9C10-43DF-BC4D-398D5333B247}" srcOrd="2" destOrd="0" parTransId="{6947B658-2102-4F09-A058-00E48848AD2C}" sibTransId="{281C0ADD-DE35-44BA-B68D-B953A9563606}"/>
    <dgm:cxn modelId="{8D2EBDB1-5B96-4088-BB72-F9A07FB4A0A3}" srcId="{8E34A66D-3345-4710-AF75-CA54BF0850F8}" destId="{B7F264B3-D6B2-4B29-929B-DAF17A8AFD59}" srcOrd="6" destOrd="0" parTransId="{AEA241AB-36BD-4210-B9FB-0E0A771576AF}" sibTransId="{4540B468-01F4-4B2D-BD07-2125E5FA9F15}"/>
    <dgm:cxn modelId="{8A4619A3-0EE5-4640-A218-C217EC3E95ED}" srcId="{8E34A66D-3345-4710-AF75-CA54BF0850F8}" destId="{61FB7C9B-3893-4EBF-A8E0-CC10DA35DBB3}" srcOrd="0" destOrd="0" parTransId="{C026D6AC-1F2B-411D-852A-11FAE7E2375B}" sibTransId="{0F56F631-7D79-4954-9C7B-AAE3419011B9}"/>
    <dgm:cxn modelId="{A865E11B-58A0-4DF1-908C-C06B7FD66B0F}" type="presOf" srcId="{4540B468-01F4-4B2D-BD07-2125E5FA9F15}" destId="{1682E402-18A5-4FF4-AD23-9778589A0D9A}" srcOrd="1" destOrd="0" presId="urn:microsoft.com/office/officeart/2005/8/layout/process5"/>
    <dgm:cxn modelId="{86337415-7D26-445E-AB4D-9165E89B415C}" srcId="{8E34A66D-3345-4710-AF75-CA54BF0850F8}" destId="{B7AF1752-1761-46B7-843A-24BFBC4E6EF5}" srcOrd="4" destOrd="0" parTransId="{6FB48C1B-6DE0-4609-A423-2112575D2884}" sibTransId="{70A41DD5-87EA-4D8D-BF71-3625EF507834}"/>
    <dgm:cxn modelId="{4DA119ED-DAD1-4A45-9ACC-CD46A4E5DFE4}" type="presOf" srcId="{6A760EE2-3E02-42CE-B856-FFB2BB062430}" destId="{6BAA26E7-5C22-48CB-BCE2-D76DD82EE603}" srcOrd="1" destOrd="0" presId="urn:microsoft.com/office/officeart/2005/8/layout/process5"/>
    <dgm:cxn modelId="{02BE3E8C-2DE1-4656-8233-1C057A029EE4}" type="presOf" srcId="{0F56F631-7D79-4954-9C7B-AAE3419011B9}" destId="{A8056FCF-1299-48A3-9C8B-D45F79E28E8E}" srcOrd="0" destOrd="0" presId="urn:microsoft.com/office/officeart/2005/8/layout/process5"/>
    <dgm:cxn modelId="{F23447ED-F103-4A8D-8953-0DF79D3EC4F3}" srcId="{8E34A66D-3345-4710-AF75-CA54BF0850F8}" destId="{AD54DDF6-1C94-4BE7-BA1B-E2199A580A7E}" srcOrd="1" destOrd="0" parTransId="{C38CC1FF-F4FB-457D-A2F9-AD85D633C0BF}" sibTransId="{4E6493B8-5180-4407-AA98-A92E6B49978E}"/>
    <dgm:cxn modelId="{EB7C15A5-4660-4DCB-96AA-266F4B7C21E8}" type="presOf" srcId="{4540B468-01F4-4B2D-BD07-2125E5FA9F15}" destId="{9759101B-6EB9-46B8-8CD8-34C6A3E246FE}" srcOrd="0" destOrd="0" presId="urn:microsoft.com/office/officeart/2005/8/layout/process5"/>
    <dgm:cxn modelId="{01461157-FC22-4CB9-85BC-CC1AF47425B4}" type="presOf" srcId="{61FB7C9B-3893-4EBF-A8E0-CC10DA35DBB3}" destId="{8D65571A-66FE-4918-B98C-0B460A7FB58C}" srcOrd="0" destOrd="0" presId="urn:microsoft.com/office/officeart/2005/8/layout/process5"/>
    <dgm:cxn modelId="{9305CCF9-B8EB-49E3-818B-0C726CB8DCDB}" type="presOf" srcId="{0F2F9AFA-AAB5-4031-8400-F707777F02B1}" destId="{79D67D28-5B81-4D0E-9185-0FF936E9BBFB}" srcOrd="1" destOrd="0" presId="urn:microsoft.com/office/officeart/2005/8/layout/process5"/>
    <dgm:cxn modelId="{D65E4FC1-AD66-4161-8D27-DF4A032CE60F}" type="presOf" srcId="{70A41DD5-87EA-4D8D-BF71-3625EF507834}" destId="{D74E5BC0-14BF-4718-B736-7F389CC46A70}" srcOrd="1" destOrd="0" presId="urn:microsoft.com/office/officeart/2005/8/layout/process5"/>
    <dgm:cxn modelId="{BEE7A6CC-CD4D-4475-842E-3C9B79258250}" type="presOf" srcId="{B513249C-774F-461F-B2B9-5BBF5546B11A}" destId="{72C52BE3-06AA-4C43-BFC3-342828549569}" srcOrd="1" destOrd="0" presId="urn:microsoft.com/office/officeart/2005/8/layout/process5"/>
    <dgm:cxn modelId="{407BF5FB-D70A-4817-8BAB-7B5F388BBE63}" type="presOf" srcId="{70A41DD5-87EA-4D8D-BF71-3625EF507834}" destId="{C0EDB19E-327C-499D-8FC7-7038EBD8F383}" srcOrd="0" destOrd="0" presId="urn:microsoft.com/office/officeart/2005/8/layout/process5"/>
    <dgm:cxn modelId="{448F33D0-C774-4662-AFA7-4A287119C448}" type="presOf" srcId="{281C0ADD-DE35-44BA-B68D-B953A9563606}" destId="{9F4C71F2-CE48-4B96-8603-48A521D52558}" srcOrd="1" destOrd="0" presId="urn:microsoft.com/office/officeart/2005/8/layout/process5"/>
    <dgm:cxn modelId="{C029BF0E-AFA7-45B6-8456-057A13C88C15}" srcId="{8E34A66D-3345-4710-AF75-CA54BF0850F8}" destId="{EB64200F-C549-42F6-AEBB-8579B258313D}" srcOrd="5" destOrd="0" parTransId="{87F5DA48-8375-4939-B2BE-BAA5FA46DBAA}" sibTransId="{6A760EE2-3E02-42CE-B856-FFB2BB062430}"/>
    <dgm:cxn modelId="{4C871926-B92A-4230-BDCC-1C816726FF97}" type="presOf" srcId="{4E6493B8-5180-4407-AA98-A92E6B49978E}" destId="{384BFF19-7C10-45B5-ABEF-53C6949AD5DA}" srcOrd="0" destOrd="0" presId="urn:microsoft.com/office/officeart/2005/8/layout/process5"/>
    <dgm:cxn modelId="{FB6F6BD1-3838-4858-B8D0-EA46715A3759}" type="presOf" srcId="{CF007DB7-9C10-43DF-BC4D-398D5333B247}" destId="{1CF08A3B-FF8F-4278-8864-3571808672E0}" srcOrd="0" destOrd="0" presId="urn:microsoft.com/office/officeart/2005/8/layout/process5"/>
    <dgm:cxn modelId="{340B7BD8-0D17-4A02-A6FC-56E59955E638}" type="presOf" srcId="{ACB36EA1-655B-4862-8A78-F5FA0EF3E334}" destId="{52C1523F-F336-4201-9554-DCF8581A22E2}" srcOrd="0" destOrd="0" presId="urn:microsoft.com/office/officeart/2005/8/layout/process5"/>
    <dgm:cxn modelId="{FB06A05E-2EBA-4D39-828D-4019F567656D}" type="presOf" srcId="{3CDEDEFF-2A23-4B75-9B2C-70724DE89D8E}" destId="{4CA157D1-5348-448C-8FBF-65C24768C15F}" srcOrd="0" destOrd="0" presId="urn:microsoft.com/office/officeart/2005/8/layout/process5"/>
    <dgm:cxn modelId="{B2E581F3-026F-4D5B-9F2F-CB1DE77A7BEB}" type="presOf" srcId="{4E6493B8-5180-4407-AA98-A92E6B49978E}" destId="{22587621-1638-465D-8B82-1DD0030332EC}" srcOrd="1" destOrd="0" presId="urn:microsoft.com/office/officeart/2005/8/layout/process5"/>
    <dgm:cxn modelId="{109A85F9-5675-43A1-BE54-D1C76BA069D2}" srcId="{8E34A66D-3345-4710-AF75-CA54BF0850F8}" destId="{4133C43C-8EFD-4E7B-8CD9-92AC7D7DBA35}" srcOrd="8" destOrd="0" parTransId="{8CF802FB-01DA-491D-8A1B-D03B2659E5F9}" sibTransId="{66EA3BC5-75A4-4C5D-852F-51EB5DB7A83D}"/>
    <dgm:cxn modelId="{CC6CACEB-09BC-46B3-B408-F2BF76A2AED3}" type="presOf" srcId="{AD54DDF6-1C94-4BE7-BA1B-E2199A580A7E}" destId="{315C27A1-E2D2-49D4-B8A6-25A8F067E6FD}" srcOrd="0" destOrd="0" presId="urn:microsoft.com/office/officeart/2005/8/layout/process5"/>
    <dgm:cxn modelId="{ECAFE3D9-22A9-45EA-9A2E-F6DC6D52A8F0}" type="presOf" srcId="{B7F264B3-D6B2-4B29-929B-DAF17A8AFD59}" destId="{29FAD8AD-00B7-4D71-98EE-F567172670DD}" srcOrd="0" destOrd="0" presId="urn:microsoft.com/office/officeart/2005/8/layout/process5"/>
    <dgm:cxn modelId="{7EA378E6-87D1-4909-8C15-2DA693B110B1}" type="presOf" srcId="{8E34A66D-3345-4710-AF75-CA54BF0850F8}" destId="{82771297-A3DC-4598-936D-9C6F7939471C}" srcOrd="0" destOrd="0" presId="urn:microsoft.com/office/officeart/2005/8/layout/process5"/>
    <dgm:cxn modelId="{2786F586-D649-4B51-9A0E-598FE18D54C5}" type="presOf" srcId="{281C0ADD-DE35-44BA-B68D-B953A9563606}" destId="{576C288A-F61D-4823-894A-C0110A7CCBF8}" srcOrd="0" destOrd="0" presId="urn:microsoft.com/office/officeart/2005/8/layout/process5"/>
    <dgm:cxn modelId="{F1B5DF11-1405-4DFF-8056-9FBF51F5D28A}" type="presOf" srcId="{0F2F9AFA-AAB5-4031-8400-F707777F02B1}" destId="{FE0786D7-014A-4AED-8598-97589BB76B28}" srcOrd="0" destOrd="0" presId="urn:microsoft.com/office/officeart/2005/8/layout/process5"/>
    <dgm:cxn modelId="{0DD6A8F2-44B0-447E-8C91-B65A7AC325A1}" type="presOf" srcId="{B7AF1752-1761-46B7-843A-24BFBC4E6EF5}" destId="{032B7905-B147-4137-A6C8-8D2A2C21E28A}" srcOrd="0" destOrd="0" presId="urn:microsoft.com/office/officeart/2005/8/layout/process5"/>
    <dgm:cxn modelId="{A1637791-D477-4174-AF4F-2F966206DDE3}" type="presOf" srcId="{EB64200F-C549-42F6-AEBB-8579B258313D}" destId="{158EB984-FD49-456C-BE6F-78B2C43F2042}" srcOrd="0" destOrd="0" presId="urn:microsoft.com/office/officeart/2005/8/layout/process5"/>
    <dgm:cxn modelId="{F3D7309B-E832-4157-9100-1E2AEB7045A5}" type="presOf" srcId="{6A760EE2-3E02-42CE-B856-FFB2BB062430}" destId="{8A146258-0701-46FC-8080-455F788D0599}" srcOrd="0" destOrd="0" presId="urn:microsoft.com/office/officeart/2005/8/layout/process5"/>
    <dgm:cxn modelId="{05094605-6135-4195-92E3-F4530DC539D5}" type="presOf" srcId="{0F56F631-7D79-4954-9C7B-AAE3419011B9}" destId="{B545A5BD-833D-4352-B755-40406B2AE865}" srcOrd="1" destOrd="0" presId="urn:microsoft.com/office/officeart/2005/8/layout/process5"/>
    <dgm:cxn modelId="{57B1098A-3647-4DC5-8790-9E144F58D87D}" type="presOf" srcId="{B513249C-774F-461F-B2B9-5BBF5546B11A}" destId="{22B0A5BF-297D-44EA-8D77-FDA7A5B2B405}" srcOrd="0" destOrd="0" presId="urn:microsoft.com/office/officeart/2005/8/layout/process5"/>
    <dgm:cxn modelId="{A7EFE2B6-1616-4538-81AC-2D19C10E5762}" type="presParOf" srcId="{82771297-A3DC-4598-936D-9C6F7939471C}" destId="{8D65571A-66FE-4918-B98C-0B460A7FB58C}" srcOrd="0" destOrd="0" presId="urn:microsoft.com/office/officeart/2005/8/layout/process5"/>
    <dgm:cxn modelId="{77C4ED8A-1E01-4B89-9D39-199F39A0C160}" type="presParOf" srcId="{82771297-A3DC-4598-936D-9C6F7939471C}" destId="{A8056FCF-1299-48A3-9C8B-D45F79E28E8E}" srcOrd="1" destOrd="0" presId="urn:microsoft.com/office/officeart/2005/8/layout/process5"/>
    <dgm:cxn modelId="{E3A50469-ECAC-4FED-BF24-96C77652856F}" type="presParOf" srcId="{A8056FCF-1299-48A3-9C8B-D45F79E28E8E}" destId="{B545A5BD-833D-4352-B755-40406B2AE865}" srcOrd="0" destOrd="0" presId="urn:microsoft.com/office/officeart/2005/8/layout/process5"/>
    <dgm:cxn modelId="{DCA85495-37B4-409D-A565-9ABB97CD41EA}" type="presParOf" srcId="{82771297-A3DC-4598-936D-9C6F7939471C}" destId="{315C27A1-E2D2-49D4-B8A6-25A8F067E6FD}" srcOrd="2" destOrd="0" presId="urn:microsoft.com/office/officeart/2005/8/layout/process5"/>
    <dgm:cxn modelId="{62CBFDAF-E1D1-4D41-B8B8-73355915FD0E}" type="presParOf" srcId="{82771297-A3DC-4598-936D-9C6F7939471C}" destId="{384BFF19-7C10-45B5-ABEF-53C6949AD5DA}" srcOrd="3" destOrd="0" presId="urn:microsoft.com/office/officeart/2005/8/layout/process5"/>
    <dgm:cxn modelId="{3456B125-0E17-4D2D-A2F5-984EF1DB0F04}" type="presParOf" srcId="{384BFF19-7C10-45B5-ABEF-53C6949AD5DA}" destId="{22587621-1638-465D-8B82-1DD0030332EC}" srcOrd="0" destOrd="0" presId="urn:microsoft.com/office/officeart/2005/8/layout/process5"/>
    <dgm:cxn modelId="{25A8AC0E-D561-4D00-BA89-4A5C9A709808}" type="presParOf" srcId="{82771297-A3DC-4598-936D-9C6F7939471C}" destId="{1CF08A3B-FF8F-4278-8864-3571808672E0}" srcOrd="4" destOrd="0" presId="urn:microsoft.com/office/officeart/2005/8/layout/process5"/>
    <dgm:cxn modelId="{BB97BC0E-2657-49E1-A830-5085334EB2E4}" type="presParOf" srcId="{82771297-A3DC-4598-936D-9C6F7939471C}" destId="{576C288A-F61D-4823-894A-C0110A7CCBF8}" srcOrd="5" destOrd="0" presId="urn:microsoft.com/office/officeart/2005/8/layout/process5"/>
    <dgm:cxn modelId="{746F576E-EAD1-42E3-BF00-7918ECB38324}" type="presParOf" srcId="{576C288A-F61D-4823-894A-C0110A7CCBF8}" destId="{9F4C71F2-CE48-4B96-8603-48A521D52558}" srcOrd="0" destOrd="0" presId="urn:microsoft.com/office/officeart/2005/8/layout/process5"/>
    <dgm:cxn modelId="{9037DAF9-033D-4DCB-BD42-C99DF1AFE67F}" type="presParOf" srcId="{82771297-A3DC-4598-936D-9C6F7939471C}" destId="{52C1523F-F336-4201-9554-DCF8581A22E2}" srcOrd="6" destOrd="0" presId="urn:microsoft.com/office/officeart/2005/8/layout/process5"/>
    <dgm:cxn modelId="{D8B2E866-946B-46A7-B8C9-0B5E660747E0}" type="presParOf" srcId="{82771297-A3DC-4598-936D-9C6F7939471C}" destId="{22B0A5BF-297D-44EA-8D77-FDA7A5B2B405}" srcOrd="7" destOrd="0" presId="urn:microsoft.com/office/officeart/2005/8/layout/process5"/>
    <dgm:cxn modelId="{3906DD5C-B95F-4336-B659-3FECDD95D91F}" type="presParOf" srcId="{22B0A5BF-297D-44EA-8D77-FDA7A5B2B405}" destId="{72C52BE3-06AA-4C43-BFC3-342828549569}" srcOrd="0" destOrd="0" presId="urn:microsoft.com/office/officeart/2005/8/layout/process5"/>
    <dgm:cxn modelId="{BCDB63C8-3EC2-4113-9728-E636B8C5B16A}" type="presParOf" srcId="{82771297-A3DC-4598-936D-9C6F7939471C}" destId="{032B7905-B147-4137-A6C8-8D2A2C21E28A}" srcOrd="8" destOrd="0" presId="urn:microsoft.com/office/officeart/2005/8/layout/process5"/>
    <dgm:cxn modelId="{90F6F0BC-D08E-4F5D-915C-351D8B6C68F8}" type="presParOf" srcId="{82771297-A3DC-4598-936D-9C6F7939471C}" destId="{C0EDB19E-327C-499D-8FC7-7038EBD8F383}" srcOrd="9" destOrd="0" presId="urn:microsoft.com/office/officeart/2005/8/layout/process5"/>
    <dgm:cxn modelId="{82B17665-586D-4F9E-8081-CDC972B71B05}" type="presParOf" srcId="{C0EDB19E-327C-499D-8FC7-7038EBD8F383}" destId="{D74E5BC0-14BF-4718-B736-7F389CC46A70}" srcOrd="0" destOrd="0" presId="urn:microsoft.com/office/officeart/2005/8/layout/process5"/>
    <dgm:cxn modelId="{AAA9B1BB-30C1-4500-98C8-2C9B47AEA5B6}" type="presParOf" srcId="{82771297-A3DC-4598-936D-9C6F7939471C}" destId="{158EB984-FD49-456C-BE6F-78B2C43F2042}" srcOrd="10" destOrd="0" presId="urn:microsoft.com/office/officeart/2005/8/layout/process5"/>
    <dgm:cxn modelId="{6270E36C-AB49-436E-AEDB-CE2283676096}" type="presParOf" srcId="{82771297-A3DC-4598-936D-9C6F7939471C}" destId="{8A146258-0701-46FC-8080-455F788D0599}" srcOrd="11" destOrd="0" presId="urn:microsoft.com/office/officeart/2005/8/layout/process5"/>
    <dgm:cxn modelId="{D8C6CCFC-4E4E-4B65-A935-DD5666936B6E}" type="presParOf" srcId="{8A146258-0701-46FC-8080-455F788D0599}" destId="{6BAA26E7-5C22-48CB-BCE2-D76DD82EE603}" srcOrd="0" destOrd="0" presId="urn:microsoft.com/office/officeart/2005/8/layout/process5"/>
    <dgm:cxn modelId="{F44AA5FA-465C-43A0-AF5F-3F912FDF80CF}" type="presParOf" srcId="{82771297-A3DC-4598-936D-9C6F7939471C}" destId="{29FAD8AD-00B7-4D71-98EE-F567172670DD}" srcOrd="12" destOrd="0" presId="urn:microsoft.com/office/officeart/2005/8/layout/process5"/>
    <dgm:cxn modelId="{2343567C-285E-4328-B93E-794ACB2DC1B6}" type="presParOf" srcId="{82771297-A3DC-4598-936D-9C6F7939471C}" destId="{9759101B-6EB9-46B8-8CD8-34C6A3E246FE}" srcOrd="13" destOrd="0" presId="urn:microsoft.com/office/officeart/2005/8/layout/process5"/>
    <dgm:cxn modelId="{447AE3B2-B3F1-4102-B665-F298FA31F71E}" type="presParOf" srcId="{9759101B-6EB9-46B8-8CD8-34C6A3E246FE}" destId="{1682E402-18A5-4FF4-AD23-9778589A0D9A}" srcOrd="0" destOrd="0" presId="urn:microsoft.com/office/officeart/2005/8/layout/process5"/>
    <dgm:cxn modelId="{4452F88C-D087-4C05-9047-823D764E021F}" type="presParOf" srcId="{82771297-A3DC-4598-936D-9C6F7939471C}" destId="{4CA157D1-5348-448C-8FBF-65C24768C15F}" srcOrd="14" destOrd="0" presId="urn:microsoft.com/office/officeart/2005/8/layout/process5"/>
    <dgm:cxn modelId="{92020662-8834-4617-95CB-5421684451FC}" type="presParOf" srcId="{82771297-A3DC-4598-936D-9C6F7939471C}" destId="{FE0786D7-014A-4AED-8598-97589BB76B28}" srcOrd="15" destOrd="0" presId="urn:microsoft.com/office/officeart/2005/8/layout/process5"/>
    <dgm:cxn modelId="{0A5FF28D-C2BD-430D-AABA-311D18388158}" type="presParOf" srcId="{FE0786D7-014A-4AED-8598-97589BB76B28}" destId="{79D67D28-5B81-4D0E-9185-0FF936E9BBFB}" srcOrd="0" destOrd="0" presId="urn:microsoft.com/office/officeart/2005/8/layout/process5"/>
    <dgm:cxn modelId="{686A2CE0-8824-4305-9A48-7A738631CF45}" type="presParOf" srcId="{82771297-A3DC-4598-936D-9C6F7939471C}" destId="{BE0B01C6-6303-4536-BD3E-FF7A931A26BD}" srcOrd="1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D81E240-C45B-420D-B258-CE823301AE2E}" type="doc">
      <dgm:prSet loTypeId="urn:microsoft.com/office/officeart/2005/8/layout/cycle2" loCatId="cycle" qsTypeId="urn:microsoft.com/office/officeart/2005/8/quickstyle/simple3" qsCatId="simple" csTypeId="urn:microsoft.com/office/officeart/2005/8/colors/accent0_2" csCatId="mainScheme" phldr="1"/>
      <dgm:spPr/>
      <dgm:t>
        <a:bodyPr/>
        <a:lstStyle/>
        <a:p>
          <a:endParaRPr lang="es-AR"/>
        </a:p>
      </dgm:t>
    </dgm:pt>
    <dgm:pt modelId="{041CDB06-F45E-4C7F-B296-6AE96CE219B4}">
      <dgm:prSet phldrT="[Texto]" custT="1"/>
      <dgm:spPr/>
      <dgm:t>
        <a:bodyPr/>
        <a:lstStyle/>
        <a:p>
          <a:r>
            <a:rPr lang="es-AR" sz="1050" b="1" dirty="0" smtClean="0"/>
            <a:t>IT</a:t>
          </a:r>
          <a:endParaRPr lang="es-AR" sz="1050" b="1" dirty="0"/>
        </a:p>
      </dgm:t>
    </dgm:pt>
    <dgm:pt modelId="{D2A710D1-92A7-4581-B17B-D79C6E1BD0C3}" type="parTrans" cxnId="{E7FB8235-9558-4566-82F7-F9972FB3414B}">
      <dgm:prSet/>
      <dgm:spPr/>
      <dgm:t>
        <a:bodyPr/>
        <a:lstStyle/>
        <a:p>
          <a:endParaRPr lang="es-AR" sz="200" b="1"/>
        </a:p>
      </dgm:t>
    </dgm:pt>
    <dgm:pt modelId="{F5C0BFA1-22E6-4EF4-A75D-848DA96B0970}" type="sibTrans" cxnId="{E7FB8235-9558-4566-82F7-F9972FB3414B}">
      <dgm:prSet custT="1"/>
      <dgm:spPr/>
      <dgm:t>
        <a:bodyPr/>
        <a:lstStyle/>
        <a:p>
          <a:endParaRPr lang="es-AR" sz="200" b="1"/>
        </a:p>
      </dgm:t>
    </dgm:pt>
    <dgm:pt modelId="{2A9E1B2F-2D40-456E-B55F-C7A1D17BC41A}">
      <dgm:prSet phldrT="[Texto]" custT="1"/>
      <dgm:spPr/>
      <dgm:t>
        <a:bodyPr/>
        <a:lstStyle/>
        <a:p>
          <a:r>
            <a:rPr lang="es-AR" sz="700" b="1" dirty="0" smtClean="0"/>
            <a:t>REPO STOCK</a:t>
          </a:r>
        </a:p>
      </dgm:t>
    </dgm:pt>
    <dgm:pt modelId="{83501E1D-13F0-4729-A6F4-EEA907740969}" type="parTrans" cxnId="{522514C6-3337-4DF4-B8C3-8D7D3B144EE1}">
      <dgm:prSet/>
      <dgm:spPr/>
      <dgm:t>
        <a:bodyPr/>
        <a:lstStyle/>
        <a:p>
          <a:endParaRPr lang="es-AR" sz="200" b="1"/>
        </a:p>
      </dgm:t>
    </dgm:pt>
    <dgm:pt modelId="{6C9B7818-9315-4230-B5FF-0EC10E51B580}" type="sibTrans" cxnId="{522514C6-3337-4DF4-B8C3-8D7D3B144EE1}">
      <dgm:prSet custT="1"/>
      <dgm:spPr/>
      <dgm:t>
        <a:bodyPr/>
        <a:lstStyle/>
        <a:p>
          <a:endParaRPr lang="es-AR" sz="200" b="1"/>
        </a:p>
      </dgm:t>
    </dgm:pt>
    <dgm:pt modelId="{0C453700-5BA2-4B69-BCB1-F5F865D38636}">
      <dgm:prSet phldrT="[Texto]" custT="1"/>
      <dgm:spPr/>
      <dgm:t>
        <a:bodyPr/>
        <a:lstStyle/>
        <a:p>
          <a:r>
            <a:rPr lang="es-AR" sz="1000" b="1" dirty="0" smtClean="0"/>
            <a:t>IMEX</a:t>
          </a:r>
          <a:endParaRPr lang="es-AR" sz="1000" b="1" dirty="0"/>
        </a:p>
      </dgm:t>
    </dgm:pt>
    <dgm:pt modelId="{3BCF6F84-5723-4386-BD50-B1EFE1B4B543}" type="parTrans" cxnId="{CC2DCB2E-F60B-47CF-8149-A171D84D4587}">
      <dgm:prSet/>
      <dgm:spPr/>
      <dgm:t>
        <a:bodyPr/>
        <a:lstStyle/>
        <a:p>
          <a:endParaRPr lang="es-AR" sz="200" b="1"/>
        </a:p>
      </dgm:t>
    </dgm:pt>
    <dgm:pt modelId="{C56042EB-8CD0-4BEC-9FDF-12BFD05D185F}" type="sibTrans" cxnId="{CC2DCB2E-F60B-47CF-8149-A171D84D4587}">
      <dgm:prSet custT="1"/>
      <dgm:spPr/>
      <dgm:t>
        <a:bodyPr/>
        <a:lstStyle/>
        <a:p>
          <a:endParaRPr lang="es-AR" sz="200" b="1"/>
        </a:p>
      </dgm:t>
    </dgm:pt>
    <dgm:pt modelId="{85923AC6-4F01-4F55-9C6C-B0D6962C3DDE}">
      <dgm:prSet phldrT="[Texto]" custT="1"/>
      <dgm:spPr/>
      <dgm:t>
        <a:bodyPr/>
        <a:lstStyle/>
        <a:p>
          <a:r>
            <a:rPr lang="es-AR" sz="500" b="1" dirty="0" smtClean="0"/>
            <a:t>PLAN VALLEJO</a:t>
          </a:r>
          <a:endParaRPr lang="es-AR" sz="500" b="1" dirty="0"/>
        </a:p>
      </dgm:t>
    </dgm:pt>
    <dgm:pt modelId="{0C73ECAE-21C8-4856-81B4-0C882F471BB2}" type="parTrans" cxnId="{9F4EE418-D41B-41FB-9EBA-06C7DD6729F2}">
      <dgm:prSet/>
      <dgm:spPr/>
      <dgm:t>
        <a:bodyPr/>
        <a:lstStyle/>
        <a:p>
          <a:endParaRPr lang="es-AR" sz="200" b="1"/>
        </a:p>
      </dgm:t>
    </dgm:pt>
    <dgm:pt modelId="{562905BA-A611-4F3A-B9B0-C94B368D71D4}" type="sibTrans" cxnId="{9F4EE418-D41B-41FB-9EBA-06C7DD6729F2}">
      <dgm:prSet custT="1"/>
      <dgm:spPr/>
      <dgm:t>
        <a:bodyPr/>
        <a:lstStyle/>
        <a:p>
          <a:endParaRPr lang="es-AR" sz="200" b="1"/>
        </a:p>
      </dgm:t>
    </dgm:pt>
    <dgm:pt modelId="{0209F9BE-A852-4FA0-A12F-1CC7DA17923B}">
      <dgm:prSet phldrT="[Texto]" custT="1"/>
      <dgm:spPr/>
      <dgm:t>
        <a:bodyPr/>
        <a:lstStyle/>
        <a:p>
          <a:r>
            <a:rPr lang="es-AR" sz="600" b="1" dirty="0" smtClean="0"/>
            <a:t>RECOF</a:t>
          </a:r>
          <a:endParaRPr lang="es-AR" sz="600" b="1" dirty="0"/>
        </a:p>
      </dgm:t>
    </dgm:pt>
    <dgm:pt modelId="{85EA7829-6605-41AD-AEAC-D7D1E5A004A0}" type="parTrans" cxnId="{ADAD3AB8-E765-4C9B-B095-9227BEEC61CD}">
      <dgm:prSet/>
      <dgm:spPr/>
      <dgm:t>
        <a:bodyPr/>
        <a:lstStyle/>
        <a:p>
          <a:endParaRPr lang="es-AR" sz="200" b="1"/>
        </a:p>
      </dgm:t>
    </dgm:pt>
    <dgm:pt modelId="{50524A2F-AC5C-48A6-B1DC-7F23E735B883}" type="sibTrans" cxnId="{ADAD3AB8-E765-4C9B-B095-9227BEEC61CD}">
      <dgm:prSet custT="1"/>
      <dgm:spPr/>
      <dgm:t>
        <a:bodyPr/>
        <a:lstStyle/>
        <a:p>
          <a:endParaRPr lang="es-AR" sz="200" b="1"/>
        </a:p>
      </dgm:t>
    </dgm:pt>
    <dgm:pt modelId="{210E6A39-3EFE-4A39-9E21-15B60D804C84}">
      <dgm:prSet phldrT="[Texto]" custT="1"/>
      <dgm:spPr/>
      <dgm:t>
        <a:bodyPr/>
        <a:lstStyle/>
        <a:p>
          <a:r>
            <a:rPr lang="es-AR" sz="700" b="1" dirty="0" smtClean="0"/>
            <a:t>RE PETRO</a:t>
          </a:r>
          <a:endParaRPr lang="es-AR" sz="400" b="1" dirty="0"/>
        </a:p>
      </dgm:t>
    </dgm:pt>
    <dgm:pt modelId="{700FF8C9-1716-4FAA-A8F8-8CFE837E03F0}" type="parTrans" cxnId="{AE8CEAF1-ECD8-4241-A5B0-294814BCDD36}">
      <dgm:prSet/>
      <dgm:spPr/>
      <dgm:t>
        <a:bodyPr/>
        <a:lstStyle/>
        <a:p>
          <a:endParaRPr lang="es-AR" sz="200" b="1"/>
        </a:p>
      </dgm:t>
    </dgm:pt>
    <dgm:pt modelId="{5E67EA0F-D845-492D-AB7A-B04198EADAC1}" type="sibTrans" cxnId="{AE8CEAF1-ECD8-4241-A5B0-294814BCDD36}">
      <dgm:prSet custT="1"/>
      <dgm:spPr/>
      <dgm:t>
        <a:bodyPr/>
        <a:lstStyle/>
        <a:p>
          <a:endParaRPr lang="es-AR" sz="200" b="1"/>
        </a:p>
      </dgm:t>
    </dgm:pt>
    <dgm:pt modelId="{3B2549A4-CC66-4ABD-8ED5-92BE3F1CFA3D}">
      <dgm:prSet phldrT="[Texto]" custT="1"/>
      <dgm:spPr/>
      <dgm:t>
        <a:bodyPr/>
        <a:lstStyle/>
        <a:p>
          <a:r>
            <a:rPr lang="es-AR" sz="1000" b="1" dirty="0" smtClean="0"/>
            <a:t>RAF</a:t>
          </a:r>
          <a:endParaRPr lang="es-AR" sz="1000" b="1" dirty="0"/>
        </a:p>
      </dgm:t>
    </dgm:pt>
    <dgm:pt modelId="{8876C18C-BB9A-41CB-96DE-26CEA8F10910}" type="parTrans" cxnId="{7AD4AA5B-1C17-4614-A78B-5F96F8DF3125}">
      <dgm:prSet/>
      <dgm:spPr/>
      <dgm:t>
        <a:bodyPr/>
        <a:lstStyle/>
        <a:p>
          <a:endParaRPr lang="es-AR" sz="200" b="1"/>
        </a:p>
      </dgm:t>
    </dgm:pt>
    <dgm:pt modelId="{EC368E9C-123A-4979-9F29-ABBC1EFEF1E9}" type="sibTrans" cxnId="{7AD4AA5B-1C17-4614-A78B-5F96F8DF3125}">
      <dgm:prSet custT="1"/>
      <dgm:spPr/>
      <dgm:t>
        <a:bodyPr/>
        <a:lstStyle/>
        <a:p>
          <a:endParaRPr lang="es-AR" sz="200" b="1"/>
        </a:p>
      </dgm:t>
    </dgm:pt>
    <dgm:pt modelId="{261A6B31-F569-4194-9914-FEAB88EAA959}">
      <dgm:prSet phldrT="[Texto]" custT="1"/>
      <dgm:spPr/>
      <dgm:t>
        <a:bodyPr/>
        <a:lstStyle/>
        <a:p>
          <a:r>
            <a:rPr lang="es-AR" sz="700" b="1" dirty="0" smtClean="0"/>
            <a:t>DRAW BACK</a:t>
          </a:r>
          <a:endParaRPr lang="es-AR" sz="1000" b="1" dirty="0"/>
        </a:p>
      </dgm:t>
    </dgm:pt>
    <dgm:pt modelId="{CE6A2A97-BBC7-4F3C-8E40-FFF198209295}" type="parTrans" cxnId="{44A04FDA-49E1-4311-BCC4-02D1B0D7730B}">
      <dgm:prSet/>
      <dgm:spPr/>
      <dgm:t>
        <a:bodyPr/>
        <a:lstStyle/>
        <a:p>
          <a:endParaRPr lang="es-AR" sz="1000"/>
        </a:p>
      </dgm:t>
    </dgm:pt>
    <dgm:pt modelId="{3015E8F5-F2CB-4DD6-AF2C-C882EEB47336}" type="sibTrans" cxnId="{44A04FDA-49E1-4311-BCC4-02D1B0D7730B}">
      <dgm:prSet custT="1"/>
      <dgm:spPr/>
      <dgm:t>
        <a:bodyPr/>
        <a:lstStyle/>
        <a:p>
          <a:endParaRPr lang="es-AR" sz="400"/>
        </a:p>
      </dgm:t>
    </dgm:pt>
    <dgm:pt modelId="{F97717A1-7A28-4D87-86A5-F3D43F569790}" type="pres">
      <dgm:prSet presAssocID="{BD81E240-C45B-420D-B258-CE823301AE2E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AR"/>
        </a:p>
      </dgm:t>
    </dgm:pt>
    <dgm:pt modelId="{3573403C-18B9-4735-8318-95E987DC0692}" type="pres">
      <dgm:prSet presAssocID="{041CDB06-F45E-4C7F-B296-6AE96CE219B4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0953105D-4358-4BC4-BEBF-A95F5A57D940}" type="pres">
      <dgm:prSet presAssocID="{F5C0BFA1-22E6-4EF4-A75D-848DA96B0970}" presName="sibTrans" presStyleLbl="sibTrans2D1" presStyleIdx="0" presStyleCnt="8"/>
      <dgm:spPr/>
      <dgm:t>
        <a:bodyPr/>
        <a:lstStyle/>
        <a:p>
          <a:endParaRPr lang="es-AR"/>
        </a:p>
      </dgm:t>
    </dgm:pt>
    <dgm:pt modelId="{40BD782D-4B48-43C3-A876-852C499883FA}" type="pres">
      <dgm:prSet presAssocID="{F5C0BFA1-22E6-4EF4-A75D-848DA96B0970}" presName="connectorText" presStyleLbl="sibTrans2D1" presStyleIdx="0" presStyleCnt="8"/>
      <dgm:spPr/>
      <dgm:t>
        <a:bodyPr/>
        <a:lstStyle/>
        <a:p>
          <a:endParaRPr lang="es-AR"/>
        </a:p>
      </dgm:t>
    </dgm:pt>
    <dgm:pt modelId="{0F4351D1-6C0D-4D23-8E63-90E0D8BB8C1F}" type="pres">
      <dgm:prSet presAssocID="{2A9E1B2F-2D40-456E-B55F-C7A1D17BC41A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1323BCF0-DF62-4C70-8871-94C240580B53}" type="pres">
      <dgm:prSet presAssocID="{6C9B7818-9315-4230-B5FF-0EC10E51B580}" presName="sibTrans" presStyleLbl="sibTrans2D1" presStyleIdx="1" presStyleCnt="8"/>
      <dgm:spPr/>
      <dgm:t>
        <a:bodyPr/>
        <a:lstStyle/>
        <a:p>
          <a:endParaRPr lang="es-AR"/>
        </a:p>
      </dgm:t>
    </dgm:pt>
    <dgm:pt modelId="{DB711316-A7A2-446F-83E1-53CAA5BACE49}" type="pres">
      <dgm:prSet presAssocID="{6C9B7818-9315-4230-B5FF-0EC10E51B580}" presName="connectorText" presStyleLbl="sibTrans2D1" presStyleIdx="1" presStyleCnt="8"/>
      <dgm:spPr/>
      <dgm:t>
        <a:bodyPr/>
        <a:lstStyle/>
        <a:p>
          <a:endParaRPr lang="es-AR"/>
        </a:p>
      </dgm:t>
    </dgm:pt>
    <dgm:pt modelId="{F1DC7579-DDB7-46A8-873B-59834729CFCA}" type="pres">
      <dgm:prSet presAssocID="{0C453700-5BA2-4B69-BCB1-F5F865D38636}" presName="node" presStyleLbl="node1" presStyleIdx="2" presStyleCnt="8" custRadScaleRad="97976" custRadScaleInc="18260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74726DFB-546C-4F73-8797-A4314161BB18}" type="pres">
      <dgm:prSet presAssocID="{C56042EB-8CD0-4BEC-9FDF-12BFD05D185F}" presName="sibTrans" presStyleLbl="sibTrans2D1" presStyleIdx="2" presStyleCnt="8"/>
      <dgm:spPr/>
      <dgm:t>
        <a:bodyPr/>
        <a:lstStyle/>
        <a:p>
          <a:endParaRPr lang="es-AR"/>
        </a:p>
      </dgm:t>
    </dgm:pt>
    <dgm:pt modelId="{08EBBB69-AC5F-4E41-880E-0C036AD9004E}" type="pres">
      <dgm:prSet presAssocID="{C56042EB-8CD0-4BEC-9FDF-12BFD05D185F}" presName="connectorText" presStyleLbl="sibTrans2D1" presStyleIdx="2" presStyleCnt="8"/>
      <dgm:spPr/>
      <dgm:t>
        <a:bodyPr/>
        <a:lstStyle/>
        <a:p>
          <a:endParaRPr lang="es-AR"/>
        </a:p>
      </dgm:t>
    </dgm:pt>
    <dgm:pt modelId="{6B0C8536-9123-479A-8408-8522D7C3E028}" type="pres">
      <dgm:prSet presAssocID="{85923AC6-4F01-4F55-9C6C-B0D6962C3DDE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22DFEF78-660E-4A99-99C3-CEBA36AECEE4}" type="pres">
      <dgm:prSet presAssocID="{562905BA-A611-4F3A-B9B0-C94B368D71D4}" presName="sibTrans" presStyleLbl="sibTrans2D1" presStyleIdx="3" presStyleCnt="8"/>
      <dgm:spPr/>
      <dgm:t>
        <a:bodyPr/>
        <a:lstStyle/>
        <a:p>
          <a:endParaRPr lang="es-AR"/>
        </a:p>
      </dgm:t>
    </dgm:pt>
    <dgm:pt modelId="{4A123EDE-08AA-42E9-BB1F-1E2FEDE4BEF6}" type="pres">
      <dgm:prSet presAssocID="{562905BA-A611-4F3A-B9B0-C94B368D71D4}" presName="connectorText" presStyleLbl="sibTrans2D1" presStyleIdx="3" presStyleCnt="8"/>
      <dgm:spPr/>
      <dgm:t>
        <a:bodyPr/>
        <a:lstStyle/>
        <a:p>
          <a:endParaRPr lang="es-AR"/>
        </a:p>
      </dgm:t>
    </dgm:pt>
    <dgm:pt modelId="{D778A0A2-EE9B-4EDA-8E8C-F205114A430B}" type="pres">
      <dgm:prSet presAssocID="{261A6B31-F569-4194-9914-FEAB88EAA959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79A56D37-EDA1-471A-BFFC-FEDA696DA5B5}" type="pres">
      <dgm:prSet presAssocID="{3015E8F5-F2CB-4DD6-AF2C-C882EEB47336}" presName="sibTrans" presStyleLbl="sibTrans2D1" presStyleIdx="4" presStyleCnt="8"/>
      <dgm:spPr/>
      <dgm:t>
        <a:bodyPr/>
        <a:lstStyle/>
        <a:p>
          <a:endParaRPr lang="es-AR"/>
        </a:p>
      </dgm:t>
    </dgm:pt>
    <dgm:pt modelId="{FECA3D3D-6B29-4E0E-A86B-0D47E3B510A8}" type="pres">
      <dgm:prSet presAssocID="{3015E8F5-F2CB-4DD6-AF2C-C882EEB47336}" presName="connectorText" presStyleLbl="sibTrans2D1" presStyleIdx="4" presStyleCnt="8"/>
      <dgm:spPr/>
      <dgm:t>
        <a:bodyPr/>
        <a:lstStyle/>
        <a:p>
          <a:endParaRPr lang="es-AR"/>
        </a:p>
      </dgm:t>
    </dgm:pt>
    <dgm:pt modelId="{415930D2-B3FF-4833-A16E-0D2536B10540}" type="pres">
      <dgm:prSet presAssocID="{0209F9BE-A852-4FA0-A12F-1CC7DA17923B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2E7AF412-68BE-4E43-8EF5-F45182640788}" type="pres">
      <dgm:prSet presAssocID="{50524A2F-AC5C-48A6-B1DC-7F23E735B883}" presName="sibTrans" presStyleLbl="sibTrans2D1" presStyleIdx="5" presStyleCnt="8"/>
      <dgm:spPr/>
      <dgm:t>
        <a:bodyPr/>
        <a:lstStyle/>
        <a:p>
          <a:endParaRPr lang="es-AR"/>
        </a:p>
      </dgm:t>
    </dgm:pt>
    <dgm:pt modelId="{4A8F31BD-25F8-47BA-8726-907193155A52}" type="pres">
      <dgm:prSet presAssocID="{50524A2F-AC5C-48A6-B1DC-7F23E735B883}" presName="connectorText" presStyleLbl="sibTrans2D1" presStyleIdx="5" presStyleCnt="8"/>
      <dgm:spPr/>
      <dgm:t>
        <a:bodyPr/>
        <a:lstStyle/>
        <a:p>
          <a:endParaRPr lang="es-AR"/>
        </a:p>
      </dgm:t>
    </dgm:pt>
    <dgm:pt modelId="{6FA6F87E-0FDC-404F-B9BA-0FA5468C8C1D}" type="pres">
      <dgm:prSet presAssocID="{210E6A39-3EFE-4A39-9E21-15B60D804C84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DFEFC46B-2072-40B2-AF31-D619B748C494}" type="pres">
      <dgm:prSet presAssocID="{5E67EA0F-D845-492D-AB7A-B04198EADAC1}" presName="sibTrans" presStyleLbl="sibTrans2D1" presStyleIdx="6" presStyleCnt="8"/>
      <dgm:spPr/>
      <dgm:t>
        <a:bodyPr/>
        <a:lstStyle/>
        <a:p>
          <a:endParaRPr lang="es-AR"/>
        </a:p>
      </dgm:t>
    </dgm:pt>
    <dgm:pt modelId="{A9EF1BAC-DBAE-4F98-944E-E48B1EA74DC9}" type="pres">
      <dgm:prSet presAssocID="{5E67EA0F-D845-492D-AB7A-B04198EADAC1}" presName="connectorText" presStyleLbl="sibTrans2D1" presStyleIdx="6" presStyleCnt="8"/>
      <dgm:spPr/>
      <dgm:t>
        <a:bodyPr/>
        <a:lstStyle/>
        <a:p>
          <a:endParaRPr lang="es-AR"/>
        </a:p>
      </dgm:t>
    </dgm:pt>
    <dgm:pt modelId="{D83BCA25-82AD-4332-8A2C-27B7A51688F2}" type="pres">
      <dgm:prSet presAssocID="{3B2549A4-CC66-4ABD-8ED5-92BE3F1CFA3D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s-AR"/>
        </a:p>
      </dgm:t>
    </dgm:pt>
    <dgm:pt modelId="{A398CBFA-BE5A-4290-8783-A8218576EB1F}" type="pres">
      <dgm:prSet presAssocID="{EC368E9C-123A-4979-9F29-ABBC1EFEF1E9}" presName="sibTrans" presStyleLbl="sibTrans2D1" presStyleIdx="7" presStyleCnt="8"/>
      <dgm:spPr/>
      <dgm:t>
        <a:bodyPr/>
        <a:lstStyle/>
        <a:p>
          <a:endParaRPr lang="es-AR"/>
        </a:p>
      </dgm:t>
    </dgm:pt>
    <dgm:pt modelId="{AC110A32-499C-40AC-A393-7ADD0A208DFA}" type="pres">
      <dgm:prSet presAssocID="{EC368E9C-123A-4979-9F29-ABBC1EFEF1E9}" presName="connectorText" presStyleLbl="sibTrans2D1" presStyleIdx="7" presStyleCnt="8"/>
      <dgm:spPr/>
      <dgm:t>
        <a:bodyPr/>
        <a:lstStyle/>
        <a:p>
          <a:endParaRPr lang="es-AR"/>
        </a:p>
      </dgm:t>
    </dgm:pt>
  </dgm:ptLst>
  <dgm:cxnLst>
    <dgm:cxn modelId="{FD3EEF8B-7719-4B37-8104-30603979D723}" type="presOf" srcId="{3015E8F5-F2CB-4DD6-AF2C-C882EEB47336}" destId="{FECA3D3D-6B29-4E0E-A86B-0D47E3B510A8}" srcOrd="1" destOrd="0" presId="urn:microsoft.com/office/officeart/2005/8/layout/cycle2"/>
    <dgm:cxn modelId="{8C61071C-946D-414B-ABE2-FEA1770C0CE3}" type="presOf" srcId="{6C9B7818-9315-4230-B5FF-0EC10E51B580}" destId="{DB711316-A7A2-446F-83E1-53CAA5BACE49}" srcOrd="1" destOrd="0" presId="urn:microsoft.com/office/officeart/2005/8/layout/cycle2"/>
    <dgm:cxn modelId="{E59A2B22-79B7-457B-9FE7-F4674A6A7677}" type="presOf" srcId="{562905BA-A611-4F3A-B9B0-C94B368D71D4}" destId="{4A123EDE-08AA-42E9-BB1F-1E2FEDE4BEF6}" srcOrd="1" destOrd="0" presId="urn:microsoft.com/office/officeart/2005/8/layout/cycle2"/>
    <dgm:cxn modelId="{CC2DCB2E-F60B-47CF-8149-A171D84D4587}" srcId="{BD81E240-C45B-420D-B258-CE823301AE2E}" destId="{0C453700-5BA2-4B69-BCB1-F5F865D38636}" srcOrd="2" destOrd="0" parTransId="{3BCF6F84-5723-4386-BD50-B1EFE1B4B543}" sibTransId="{C56042EB-8CD0-4BEC-9FDF-12BFD05D185F}"/>
    <dgm:cxn modelId="{AE8CEAF1-ECD8-4241-A5B0-294814BCDD36}" srcId="{BD81E240-C45B-420D-B258-CE823301AE2E}" destId="{210E6A39-3EFE-4A39-9E21-15B60D804C84}" srcOrd="6" destOrd="0" parTransId="{700FF8C9-1716-4FAA-A8F8-8CFE837E03F0}" sibTransId="{5E67EA0F-D845-492D-AB7A-B04198EADAC1}"/>
    <dgm:cxn modelId="{6BDA3C11-80B8-49B4-A6D3-25DECF733E34}" type="presOf" srcId="{5E67EA0F-D845-492D-AB7A-B04198EADAC1}" destId="{A9EF1BAC-DBAE-4F98-944E-E48B1EA74DC9}" srcOrd="1" destOrd="0" presId="urn:microsoft.com/office/officeart/2005/8/layout/cycle2"/>
    <dgm:cxn modelId="{0C15D6D0-1D51-4C31-B13A-A143AC2044D6}" type="presOf" srcId="{EC368E9C-123A-4979-9F29-ABBC1EFEF1E9}" destId="{A398CBFA-BE5A-4290-8783-A8218576EB1F}" srcOrd="0" destOrd="0" presId="urn:microsoft.com/office/officeart/2005/8/layout/cycle2"/>
    <dgm:cxn modelId="{44A04FDA-49E1-4311-BCC4-02D1B0D7730B}" srcId="{BD81E240-C45B-420D-B258-CE823301AE2E}" destId="{261A6B31-F569-4194-9914-FEAB88EAA959}" srcOrd="4" destOrd="0" parTransId="{CE6A2A97-BBC7-4F3C-8E40-FFF198209295}" sibTransId="{3015E8F5-F2CB-4DD6-AF2C-C882EEB47336}"/>
    <dgm:cxn modelId="{8CFEB3C4-D4FA-422B-98C0-7646E5CA6E93}" type="presOf" srcId="{BD81E240-C45B-420D-B258-CE823301AE2E}" destId="{F97717A1-7A28-4D87-86A5-F3D43F569790}" srcOrd="0" destOrd="0" presId="urn:microsoft.com/office/officeart/2005/8/layout/cycle2"/>
    <dgm:cxn modelId="{63CD95B3-B110-4D4D-BD5B-07E239B6A353}" type="presOf" srcId="{EC368E9C-123A-4979-9F29-ABBC1EFEF1E9}" destId="{AC110A32-499C-40AC-A393-7ADD0A208DFA}" srcOrd="1" destOrd="0" presId="urn:microsoft.com/office/officeart/2005/8/layout/cycle2"/>
    <dgm:cxn modelId="{FDD0C4DF-7FEF-47C2-AF05-8EC62CAA1F70}" type="presOf" srcId="{3B2549A4-CC66-4ABD-8ED5-92BE3F1CFA3D}" destId="{D83BCA25-82AD-4332-8A2C-27B7A51688F2}" srcOrd="0" destOrd="0" presId="urn:microsoft.com/office/officeart/2005/8/layout/cycle2"/>
    <dgm:cxn modelId="{ADAD3AB8-E765-4C9B-B095-9227BEEC61CD}" srcId="{BD81E240-C45B-420D-B258-CE823301AE2E}" destId="{0209F9BE-A852-4FA0-A12F-1CC7DA17923B}" srcOrd="5" destOrd="0" parTransId="{85EA7829-6605-41AD-AEAC-D7D1E5A004A0}" sibTransId="{50524A2F-AC5C-48A6-B1DC-7F23E735B883}"/>
    <dgm:cxn modelId="{CBBB1A3F-F113-48FF-B9A4-442EF4188DCA}" type="presOf" srcId="{85923AC6-4F01-4F55-9C6C-B0D6962C3DDE}" destId="{6B0C8536-9123-479A-8408-8522D7C3E028}" srcOrd="0" destOrd="0" presId="urn:microsoft.com/office/officeart/2005/8/layout/cycle2"/>
    <dgm:cxn modelId="{FBA14EEA-D655-420C-B56B-B690044D09FB}" type="presOf" srcId="{210E6A39-3EFE-4A39-9E21-15B60D804C84}" destId="{6FA6F87E-0FDC-404F-B9BA-0FA5468C8C1D}" srcOrd="0" destOrd="0" presId="urn:microsoft.com/office/officeart/2005/8/layout/cycle2"/>
    <dgm:cxn modelId="{BBF3E151-0C37-4BD8-B949-549EB45F4B22}" type="presOf" srcId="{50524A2F-AC5C-48A6-B1DC-7F23E735B883}" destId="{4A8F31BD-25F8-47BA-8726-907193155A52}" srcOrd="1" destOrd="0" presId="urn:microsoft.com/office/officeart/2005/8/layout/cycle2"/>
    <dgm:cxn modelId="{522514C6-3337-4DF4-B8C3-8D7D3B144EE1}" srcId="{BD81E240-C45B-420D-B258-CE823301AE2E}" destId="{2A9E1B2F-2D40-456E-B55F-C7A1D17BC41A}" srcOrd="1" destOrd="0" parTransId="{83501E1D-13F0-4729-A6F4-EEA907740969}" sibTransId="{6C9B7818-9315-4230-B5FF-0EC10E51B580}"/>
    <dgm:cxn modelId="{332898DC-43E9-4732-B7AA-BD2BA12D5333}" type="presOf" srcId="{C56042EB-8CD0-4BEC-9FDF-12BFD05D185F}" destId="{74726DFB-546C-4F73-8797-A4314161BB18}" srcOrd="0" destOrd="0" presId="urn:microsoft.com/office/officeart/2005/8/layout/cycle2"/>
    <dgm:cxn modelId="{F1344107-AD3D-427D-A48E-88C1A8BD5062}" type="presOf" srcId="{041CDB06-F45E-4C7F-B296-6AE96CE219B4}" destId="{3573403C-18B9-4735-8318-95E987DC0692}" srcOrd="0" destOrd="0" presId="urn:microsoft.com/office/officeart/2005/8/layout/cycle2"/>
    <dgm:cxn modelId="{38743DD2-93B0-4DEF-B4ED-2FA92F69BD09}" type="presOf" srcId="{50524A2F-AC5C-48A6-B1DC-7F23E735B883}" destId="{2E7AF412-68BE-4E43-8EF5-F45182640788}" srcOrd="0" destOrd="0" presId="urn:microsoft.com/office/officeart/2005/8/layout/cycle2"/>
    <dgm:cxn modelId="{9F4EE418-D41B-41FB-9EBA-06C7DD6729F2}" srcId="{BD81E240-C45B-420D-B258-CE823301AE2E}" destId="{85923AC6-4F01-4F55-9C6C-B0D6962C3DDE}" srcOrd="3" destOrd="0" parTransId="{0C73ECAE-21C8-4856-81B4-0C882F471BB2}" sibTransId="{562905BA-A611-4F3A-B9B0-C94B368D71D4}"/>
    <dgm:cxn modelId="{3A6F7C67-DAFB-446D-82CA-E24663003077}" type="presOf" srcId="{5E67EA0F-D845-492D-AB7A-B04198EADAC1}" destId="{DFEFC46B-2072-40B2-AF31-D619B748C494}" srcOrd="0" destOrd="0" presId="urn:microsoft.com/office/officeart/2005/8/layout/cycle2"/>
    <dgm:cxn modelId="{E90DA1A3-B921-4983-9AF5-E09A6B24925D}" type="presOf" srcId="{261A6B31-F569-4194-9914-FEAB88EAA959}" destId="{D778A0A2-EE9B-4EDA-8E8C-F205114A430B}" srcOrd="0" destOrd="0" presId="urn:microsoft.com/office/officeart/2005/8/layout/cycle2"/>
    <dgm:cxn modelId="{D28FE9D7-6651-45C8-AE4C-A4353429F901}" type="presOf" srcId="{F5C0BFA1-22E6-4EF4-A75D-848DA96B0970}" destId="{40BD782D-4B48-43C3-A876-852C499883FA}" srcOrd="1" destOrd="0" presId="urn:microsoft.com/office/officeart/2005/8/layout/cycle2"/>
    <dgm:cxn modelId="{E2AE9526-7F75-47C4-9907-B0278511051F}" type="presOf" srcId="{6C9B7818-9315-4230-B5FF-0EC10E51B580}" destId="{1323BCF0-DF62-4C70-8871-94C240580B53}" srcOrd="0" destOrd="0" presId="urn:microsoft.com/office/officeart/2005/8/layout/cycle2"/>
    <dgm:cxn modelId="{5182A6B5-A582-4F9D-9FC4-B7731913083C}" type="presOf" srcId="{2A9E1B2F-2D40-456E-B55F-C7A1D17BC41A}" destId="{0F4351D1-6C0D-4D23-8E63-90E0D8BB8C1F}" srcOrd="0" destOrd="0" presId="urn:microsoft.com/office/officeart/2005/8/layout/cycle2"/>
    <dgm:cxn modelId="{7E1D35B2-DA75-4DA0-A6D0-81997038D8E3}" type="presOf" srcId="{C56042EB-8CD0-4BEC-9FDF-12BFD05D185F}" destId="{08EBBB69-AC5F-4E41-880E-0C036AD9004E}" srcOrd="1" destOrd="0" presId="urn:microsoft.com/office/officeart/2005/8/layout/cycle2"/>
    <dgm:cxn modelId="{A9A4EADA-6CF2-4824-94D5-EC3342596C62}" type="presOf" srcId="{0C453700-5BA2-4B69-BCB1-F5F865D38636}" destId="{F1DC7579-DDB7-46A8-873B-59834729CFCA}" srcOrd="0" destOrd="0" presId="urn:microsoft.com/office/officeart/2005/8/layout/cycle2"/>
    <dgm:cxn modelId="{E7FB8235-9558-4566-82F7-F9972FB3414B}" srcId="{BD81E240-C45B-420D-B258-CE823301AE2E}" destId="{041CDB06-F45E-4C7F-B296-6AE96CE219B4}" srcOrd="0" destOrd="0" parTransId="{D2A710D1-92A7-4581-B17B-D79C6E1BD0C3}" sibTransId="{F5C0BFA1-22E6-4EF4-A75D-848DA96B0970}"/>
    <dgm:cxn modelId="{7AD4AA5B-1C17-4614-A78B-5F96F8DF3125}" srcId="{BD81E240-C45B-420D-B258-CE823301AE2E}" destId="{3B2549A4-CC66-4ABD-8ED5-92BE3F1CFA3D}" srcOrd="7" destOrd="0" parTransId="{8876C18C-BB9A-41CB-96DE-26CEA8F10910}" sibTransId="{EC368E9C-123A-4979-9F29-ABBC1EFEF1E9}"/>
    <dgm:cxn modelId="{E7736742-AF0A-4C0E-AA58-035DA416462C}" type="presOf" srcId="{0209F9BE-A852-4FA0-A12F-1CC7DA17923B}" destId="{415930D2-B3FF-4833-A16E-0D2536B10540}" srcOrd="0" destOrd="0" presId="urn:microsoft.com/office/officeart/2005/8/layout/cycle2"/>
    <dgm:cxn modelId="{283E98B4-2AB5-454D-8AD1-9F08303544E8}" type="presOf" srcId="{F5C0BFA1-22E6-4EF4-A75D-848DA96B0970}" destId="{0953105D-4358-4BC4-BEBF-A95F5A57D940}" srcOrd="0" destOrd="0" presId="urn:microsoft.com/office/officeart/2005/8/layout/cycle2"/>
    <dgm:cxn modelId="{52A2540F-DC26-4169-92CA-D02E8BD95A3B}" type="presOf" srcId="{3015E8F5-F2CB-4DD6-AF2C-C882EEB47336}" destId="{79A56D37-EDA1-471A-BFFC-FEDA696DA5B5}" srcOrd="0" destOrd="0" presId="urn:microsoft.com/office/officeart/2005/8/layout/cycle2"/>
    <dgm:cxn modelId="{2F325D4E-0AA8-44AC-A2CF-2539FA7B0A21}" type="presOf" srcId="{562905BA-A611-4F3A-B9B0-C94B368D71D4}" destId="{22DFEF78-660E-4A99-99C3-CEBA36AECEE4}" srcOrd="0" destOrd="0" presId="urn:microsoft.com/office/officeart/2005/8/layout/cycle2"/>
    <dgm:cxn modelId="{753E742D-DAC6-4758-9093-6A189E317C7E}" type="presParOf" srcId="{F97717A1-7A28-4D87-86A5-F3D43F569790}" destId="{3573403C-18B9-4735-8318-95E987DC0692}" srcOrd="0" destOrd="0" presId="urn:microsoft.com/office/officeart/2005/8/layout/cycle2"/>
    <dgm:cxn modelId="{CF752BE1-8A28-4273-BF41-10A99A785942}" type="presParOf" srcId="{F97717A1-7A28-4D87-86A5-F3D43F569790}" destId="{0953105D-4358-4BC4-BEBF-A95F5A57D940}" srcOrd="1" destOrd="0" presId="urn:microsoft.com/office/officeart/2005/8/layout/cycle2"/>
    <dgm:cxn modelId="{A6B5CA95-18E1-413A-9C94-2DDEA9B58A95}" type="presParOf" srcId="{0953105D-4358-4BC4-BEBF-A95F5A57D940}" destId="{40BD782D-4B48-43C3-A876-852C499883FA}" srcOrd="0" destOrd="0" presId="urn:microsoft.com/office/officeart/2005/8/layout/cycle2"/>
    <dgm:cxn modelId="{F79C31C8-165F-4A85-9F9E-191C1A595047}" type="presParOf" srcId="{F97717A1-7A28-4D87-86A5-F3D43F569790}" destId="{0F4351D1-6C0D-4D23-8E63-90E0D8BB8C1F}" srcOrd="2" destOrd="0" presId="urn:microsoft.com/office/officeart/2005/8/layout/cycle2"/>
    <dgm:cxn modelId="{595E37B2-DD72-4364-8A5E-35ADF3E43573}" type="presParOf" srcId="{F97717A1-7A28-4D87-86A5-F3D43F569790}" destId="{1323BCF0-DF62-4C70-8871-94C240580B53}" srcOrd="3" destOrd="0" presId="urn:microsoft.com/office/officeart/2005/8/layout/cycle2"/>
    <dgm:cxn modelId="{E07E2C27-73CC-4A4A-AFE5-A77C5607291F}" type="presParOf" srcId="{1323BCF0-DF62-4C70-8871-94C240580B53}" destId="{DB711316-A7A2-446F-83E1-53CAA5BACE49}" srcOrd="0" destOrd="0" presId="urn:microsoft.com/office/officeart/2005/8/layout/cycle2"/>
    <dgm:cxn modelId="{48831A31-1996-4B40-ACB6-2D4CD30C1B18}" type="presParOf" srcId="{F97717A1-7A28-4D87-86A5-F3D43F569790}" destId="{F1DC7579-DDB7-46A8-873B-59834729CFCA}" srcOrd="4" destOrd="0" presId="urn:microsoft.com/office/officeart/2005/8/layout/cycle2"/>
    <dgm:cxn modelId="{4F3A7A46-96DD-4532-8614-563C615E4D2C}" type="presParOf" srcId="{F97717A1-7A28-4D87-86A5-F3D43F569790}" destId="{74726DFB-546C-4F73-8797-A4314161BB18}" srcOrd="5" destOrd="0" presId="urn:microsoft.com/office/officeart/2005/8/layout/cycle2"/>
    <dgm:cxn modelId="{28547F62-B0DA-4E68-9B14-B6F8287E2E94}" type="presParOf" srcId="{74726DFB-546C-4F73-8797-A4314161BB18}" destId="{08EBBB69-AC5F-4E41-880E-0C036AD9004E}" srcOrd="0" destOrd="0" presId="urn:microsoft.com/office/officeart/2005/8/layout/cycle2"/>
    <dgm:cxn modelId="{4E46E37C-89DA-4B6F-BF43-A2AD1F843C9B}" type="presParOf" srcId="{F97717A1-7A28-4D87-86A5-F3D43F569790}" destId="{6B0C8536-9123-479A-8408-8522D7C3E028}" srcOrd="6" destOrd="0" presId="urn:microsoft.com/office/officeart/2005/8/layout/cycle2"/>
    <dgm:cxn modelId="{F1F2C707-24EA-4523-B0EA-95143ED718B1}" type="presParOf" srcId="{F97717A1-7A28-4D87-86A5-F3D43F569790}" destId="{22DFEF78-660E-4A99-99C3-CEBA36AECEE4}" srcOrd="7" destOrd="0" presId="urn:microsoft.com/office/officeart/2005/8/layout/cycle2"/>
    <dgm:cxn modelId="{1F718A40-DA9F-4054-BF46-6306CD7271A7}" type="presParOf" srcId="{22DFEF78-660E-4A99-99C3-CEBA36AECEE4}" destId="{4A123EDE-08AA-42E9-BB1F-1E2FEDE4BEF6}" srcOrd="0" destOrd="0" presId="urn:microsoft.com/office/officeart/2005/8/layout/cycle2"/>
    <dgm:cxn modelId="{73C364D1-682C-49CF-8740-DCD572F42570}" type="presParOf" srcId="{F97717A1-7A28-4D87-86A5-F3D43F569790}" destId="{D778A0A2-EE9B-4EDA-8E8C-F205114A430B}" srcOrd="8" destOrd="0" presId="urn:microsoft.com/office/officeart/2005/8/layout/cycle2"/>
    <dgm:cxn modelId="{8C5A8F94-6C10-4ED7-B3A5-D6FF29445EDD}" type="presParOf" srcId="{F97717A1-7A28-4D87-86A5-F3D43F569790}" destId="{79A56D37-EDA1-471A-BFFC-FEDA696DA5B5}" srcOrd="9" destOrd="0" presId="urn:microsoft.com/office/officeart/2005/8/layout/cycle2"/>
    <dgm:cxn modelId="{31A2F0D9-5D32-4D3E-B06B-2BA8962692B6}" type="presParOf" srcId="{79A56D37-EDA1-471A-BFFC-FEDA696DA5B5}" destId="{FECA3D3D-6B29-4E0E-A86B-0D47E3B510A8}" srcOrd="0" destOrd="0" presId="urn:microsoft.com/office/officeart/2005/8/layout/cycle2"/>
    <dgm:cxn modelId="{4688BECA-8F83-418A-9ABD-B1F24573DA29}" type="presParOf" srcId="{F97717A1-7A28-4D87-86A5-F3D43F569790}" destId="{415930D2-B3FF-4833-A16E-0D2536B10540}" srcOrd="10" destOrd="0" presId="urn:microsoft.com/office/officeart/2005/8/layout/cycle2"/>
    <dgm:cxn modelId="{C7902017-A00D-4443-9829-7DCBE7BBE4A6}" type="presParOf" srcId="{F97717A1-7A28-4D87-86A5-F3D43F569790}" destId="{2E7AF412-68BE-4E43-8EF5-F45182640788}" srcOrd="11" destOrd="0" presId="urn:microsoft.com/office/officeart/2005/8/layout/cycle2"/>
    <dgm:cxn modelId="{F44B683C-B458-463A-A4A9-D8500DBB7611}" type="presParOf" srcId="{2E7AF412-68BE-4E43-8EF5-F45182640788}" destId="{4A8F31BD-25F8-47BA-8726-907193155A52}" srcOrd="0" destOrd="0" presId="urn:microsoft.com/office/officeart/2005/8/layout/cycle2"/>
    <dgm:cxn modelId="{AA319CAB-22B1-4799-BCDC-B2FCC6218486}" type="presParOf" srcId="{F97717A1-7A28-4D87-86A5-F3D43F569790}" destId="{6FA6F87E-0FDC-404F-B9BA-0FA5468C8C1D}" srcOrd="12" destOrd="0" presId="urn:microsoft.com/office/officeart/2005/8/layout/cycle2"/>
    <dgm:cxn modelId="{C7478B96-D124-4427-9426-BA156B380B18}" type="presParOf" srcId="{F97717A1-7A28-4D87-86A5-F3D43F569790}" destId="{DFEFC46B-2072-40B2-AF31-D619B748C494}" srcOrd="13" destOrd="0" presId="urn:microsoft.com/office/officeart/2005/8/layout/cycle2"/>
    <dgm:cxn modelId="{2A899229-D7C4-474D-9D06-7A954B709BCC}" type="presParOf" srcId="{DFEFC46B-2072-40B2-AF31-D619B748C494}" destId="{A9EF1BAC-DBAE-4F98-944E-E48B1EA74DC9}" srcOrd="0" destOrd="0" presId="urn:microsoft.com/office/officeart/2005/8/layout/cycle2"/>
    <dgm:cxn modelId="{196A7353-A5EE-49C7-9917-8A7A4EB77DB4}" type="presParOf" srcId="{F97717A1-7A28-4D87-86A5-F3D43F569790}" destId="{D83BCA25-82AD-4332-8A2C-27B7A51688F2}" srcOrd="14" destOrd="0" presId="urn:microsoft.com/office/officeart/2005/8/layout/cycle2"/>
    <dgm:cxn modelId="{FFFEDC01-0575-46FF-8607-0E2BEF6470CA}" type="presParOf" srcId="{F97717A1-7A28-4D87-86A5-F3D43F569790}" destId="{A398CBFA-BE5A-4290-8783-A8218576EB1F}" srcOrd="15" destOrd="0" presId="urn:microsoft.com/office/officeart/2005/8/layout/cycle2"/>
    <dgm:cxn modelId="{12C9B087-3D0E-4A91-B315-8C13A2C9F818}" type="presParOf" srcId="{A398CBFA-BE5A-4290-8783-A8218576EB1F}" destId="{AC110A32-499C-40AC-A393-7ADD0A208DFA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1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3FC66CC-8335-4A8F-BBC2-77F68638D298}">
      <dgm:prSet phldrT="[Text]" custT="1"/>
      <dgm:spPr>
        <a:solidFill>
          <a:srgbClr val="0060A8"/>
        </a:solidFill>
      </dgm:spPr>
      <dgm:t>
        <a:bodyPr lIns="468000" rIns="64800"/>
        <a:lstStyle/>
        <a:p>
          <a:pPr algn="ctr"/>
          <a:r>
            <a:rPr lang="pt-BR" sz="1200" dirty="0" smtClean="0"/>
            <a:t>Brazil</a:t>
          </a:r>
          <a:endParaRPr lang="pt-BR" sz="1200" dirty="0"/>
        </a:p>
      </dgm:t>
    </dgm:pt>
    <dgm:pt modelId="{C5EC99D9-8373-420D-BDD8-E196C30FA2F8}" type="sibTrans" cxnId="{C4E00A1E-27F5-47E3-ADBE-56234B50F432}">
      <dgm:prSet/>
      <dgm:spPr/>
      <dgm:t>
        <a:bodyPr/>
        <a:lstStyle/>
        <a:p>
          <a:endParaRPr lang="pt-BR"/>
        </a:p>
      </dgm:t>
    </dgm:pt>
    <dgm:pt modelId="{8DBABC0C-30F9-4217-BFF0-D8CA26CB68E2}" type="parTrans" cxnId="{C4E00A1E-27F5-47E3-ADBE-56234B50F432}">
      <dgm:prSet/>
      <dgm:spPr/>
      <dgm:t>
        <a:bodyPr/>
        <a:lstStyle/>
        <a:p>
          <a:endParaRPr lang="pt-BR"/>
        </a:p>
      </dgm:t>
    </dgm:pt>
    <dgm:pt modelId="{BF3E57B5-FD08-4624-B73D-E7BA214DCE55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Argentina</a:t>
          </a:r>
          <a:endParaRPr lang="pt-BR" sz="1100" dirty="0"/>
        </a:p>
      </dgm:t>
    </dgm:pt>
    <dgm:pt modelId="{3AE26608-7BD1-49B2-A8C8-A028BEF9AC42}" type="parTrans" cxnId="{CC8C7A35-EABE-43A0-834C-4341D531833E}">
      <dgm:prSet/>
      <dgm:spPr/>
      <dgm:t>
        <a:bodyPr/>
        <a:lstStyle/>
        <a:p>
          <a:endParaRPr lang="pt-BR"/>
        </a:p>
      </dgm:t>
    </dgm:pt>
    <dgm:pt modelId="{BDCF2982-84EF-4203-BB0C-9D5F316011E3}" type="sibTrans" cxnId="{CC8C7A35-EABE-43A0-834C-4341D531833E}">
      <dgm:prSet/>
      <dgm:spPr/>
      <dgm:t>
        <a:bodyPr/>
        <a:lstStyle/>
        <a:p>
          <a:endParaRPr lang="pt-BR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Mexico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24332-58D5-4A5B-A2F6-9F5E10522027}" type="pres">
      <dgm:prSet presAssocID="{73FC66CC-8335-4A8F-BBC2-77F68638D298}" presName="composite" presStyleCnt="0"/>
      <dgm:spPr/>
    </dgm:pt>
    <dgm:pt modelId="{A93D5A44-FF78-415A-AB8F-F99D453B4EF4}" type="pres">
      <dgm:prSet presAssocID="{73FC66CC-8335-4A8F-BBC2-77F68638D298}" presName="imgShp" presStyleLbl="fgImgPlace1" presStyleIdx="0" presStyleCnt="3" custScaleX="67842" custScaleY="72863" custLinFactNeighborX="19017" custLinFactNeighborY="89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6000" r="-26000"/>
          </a:stretch>
        </a:blipFill>
      </dgm:spPr>
      <dgm:t>
        <a:bodyPr/>
        <a:lstStyle/>
        <a:p>
          <a:endParaRPr lang="pt-BR"/>
        </a:p>
      </dgm:t>
    </dgm:pt>
    <dgm:pt modelId="{1A7B9562-D763-42A3-BA37-7DC7A01252A8}" type="pres">
      <dgm:prSet presAssocID="{73FC66CC-8335-4A8F-BBC2-77F68638D298}" presName="txShp" presStyleLbl="node1" presStyleIdx="0" presStyleCnt="3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D803FD5F-C28F-4BE8-802E-8199AAE4DCB1}" type="pres">
      <dgm:prSet presAssocID="{C5EC99D9-8373-420D-BDD8-E196C30FA2F8}" presName="spacing" presStyleCnt="0"/>
      <dgm:spPr/>
    </dgm:pt>
    <dgm:pt modelId="{929D0D88-7075-4888-9FE3-91BE5A74DF1C}" type="pres">
      <dgm:prSet presAssocID="{BF3E57B5-FD08-4624-B73D-E7BA214DCE55}" presName="composite" presStyleCnt="0"/>
      <dgm:spPr/>
    </dgm:pt>
    <dgm:pt modelId="{AD7398DF-35D2-4429-9557-67D2E7E0D76C}" type="pres">
      <dgm:prSet presAssocID="{BF3E57B5-FD08-4624-B73D-E7BA214DCE55}" presName="imgShp" presStyleLbl="fgImgPlace1" presStyleIdx="1" presStyleCnt="3" custScaleX="67842" custScaleY="72863" custLinFactNeighborX="19017" custLinFactNeighborY="895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9000" r="-29000"/>
          </a:stretch>
        </a:blipFill>
      </dgm:spPr>
      <dgm:t>
        <a:bodyPr/>
        <a:lstStyle/>
        <a:p>
          <a:endParaRPr lang="pt-BR"/>
        </a:p>
      </dgm:t>
    </dgm:pt>
    <dgm:pt modelId="{4E94D776-3AE0-4037-94E9-A0F6957146A3}" type="pres">
      <dgm:prSet presAssocID="{BF3E57B5-FD08-4624-B73D-E7BA214DCE55}" presName="txShp" presStyleLbl="node1" presStyleIdx="1" presStyleCnt="3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25F6CC78-26D3-4A73-BE50-284020276647}" type="pres">
      <dgm:prSet presAssocID="{BDCF2982-84EF-4203-BB0C-9D5F316011E3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2" presStyleCnt="3" custScaleX="67842" custScaleY="72863" custLinFactNeighborX="19017" custLinFactNeighborY="89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2" presStyleCnt="3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</dgm:ptLst>
  <dgm:cxnLst>
    <dgm:cxn modelId="{2120D961-FA9F-4749-B8F9-59B082837388}" type="presOf" srcId="{5448CEB9-8650-438E-8FB3-C42D0EB69ACA}" destId="{8AB5F03D-5127-4B4F-8781-66AA1653AB7E}" srcOrd="0" destOrd="0" presId="urn:microsoft.com/office/officeart/2005/8/layout/vList3#1"/>
    <dgm:cxn modelId="{4D080328-0E5E-468A-9232-953586AA99AE}" type="presOf" srcId="{73FC66CC-8335-4A8F-BBC2-77F68638D298}" destId="{1A7B9562-D763-42A3-BA37-7DC7A01252A8}" srcOrd="0" destOrd="0" presId="urn:microsoft.com/office/officeart/2005/8/layout/vList3#1"/>
    <dgm:cxn modelId="{CEF9F3CD-EA23-4FCF-BD3B-A511E5688689}" type="presOf" srcId="{BF3E57B5-FD08-4624-B73D-E7BA214DCE55}" destId="{4E94D776-3AE0-4037-94E9-A0F6957146A3}" srcOrd="0" destOrd="0" presId="urn:microsoft.com/office/officeart/2005/8/layout/vList3#1"/>
    <dgm:cxn modelId="{6DDEC734-214A-430F-A91B-47E347F11853}" type="presOf" srcId="{8424DC7B-61D0-4B32-9250-D2600E5E661F}" destId="{87058BDE-5535-4089-A0AA-1234D7F9F1C3}" srcOrd="0" destOrd="0" presId="urn:microsoft.com/office/officeart/2005/8/layout/vList3#1"/>
    <dgm:cxn modelId="{DFE17465-2311-4420-B2B7-B4F2172261DD}" srcId="{8424DC7B-61D0-4B32-9250-D2600E5E661F}" destId="{5448CEB9-8650-438E-8FB3-C42D0EB69ACA}" srcOrd="2" destOrd="0" parTransId="{16A69258-7DEA-4922-9BF4-EE42C4975625}" sibTransId="{00E2C79A-ED8B-4AC0-AC58-AE040DA88948}"/>
    <dgm:cxn modelId="{C4E00A1E-27F5-47E3-ADBE-56234B50F432}" srcId="{8424DC7B-61D0-4B32-9250-D2600E5E661F}" destId="{73FC66CC-8335-4A8F-BBC2-77F68638D298}" srcOrd="0" destOrd="0" parTransId="{8DBABC0C-30F9-4217-BFF0-D8CA26CB68E2}" sibTransId="{C5EC99D9-8373-420D-BDD8-E196C30FA2F8}"/>
    <dgm:cxn modelId="{CC8C7A35-EABE-43A0-834C-4341D531833E}" srcId="{8424DC7B-61D0-4B32-9250-D2600E5E661F}" destId="{BF3E57B5-FD08-4624-B73D-E7BA214DCE55}" srcOrd="1" destOrd="0" parTransId="{3AE26608-7BD1-49B2-A8C8-A028BEF9AC42}" sibTransId="{BDCF2982-84EF-4203-BB0C-9D5F316011E3}"/>
    <dgm:cxn modelId="{992DBE7B-E832-4671-9E37-F906C629D74B}" type="presParOf" srcId="{87058BDE-5535-4089-A0AA-1234D7F9F1C3}" destId="{76924332-58D5-4A5B-A2F6-9F5E10522027}" srcOrd="0" destOrd="0" presId="urn:microsoft.com/office/officeart/2005/8/layout/vList3#1"/>
    <dgm:cxn modelId="{7A096C49-85A6-493F-B320-4060994C6C8F}" type="presParOf" srcId="{76924332-58D5-4A5B-A2F6-9F5E10522027}" destId="{A93D5A44-FF78-415A-AB8F-F99D453B4EF4}" srcOrd="0" destOrd="0" presId="urn:microsoft.com/office/officeart/2005/8/layout/vList3#1"/>
    <dgm:cxn modelId="{26DABF1C-DACB-46AE-8692-01BAC56C295B}" type="presParOf" srcId="{76924332-58D5-4A5B-A2F6-9F5E10522027}" destId="{1A7B9562-D763-42A3-BA37-7DC7A01252A8}" srcOrd="1" destOrd="0" presId="urn:microsoft.com/office/officeart/2005/8/layout/vList3#1"/>
    <dgm:cxn modelId="{8A354AAA-FE19-4407-A02F-C6FF5D1EBE74}" type="presParOf" srcId="{87058BDE-5535-4089-A0AA-1234D7F9F1C3}" destId="{D803FD5F-C28F-4BE8-802E-8199AAE4DCB1}" srcOrd="1" destOrd="0" presId="urn:microsoft.com/office/officeart/2005/8/layout/vList3#1"/>
    <dgm:cxn modelId="{72877B0C-45AB-4FA7-A604-DC86F9CA5DC2}" type="presParOf" srcId="{87058BDE-5535-4089-A0AA-1234D7F9F1C3}" destId="{929D0D88-7075-4888-9FE3-91BE5A74DF1C}" srcOrd="2" destOrd="0" presId="urn:microsoft.com/office/officeart/2005/8/layout/vList3#1"/>
    <dgm:cxn modelId="{9A610CF4-534C-45AC-82B3-3B2150AA2168}" type="presParOf" srcId="{929D0D88-7075-4888-9FE3-91BE5A74DF1C}" destId="{AD7398DF-35D2-4429-9557-67D2E7E0D76C}" srcOrd="0" destOrd="0" presId="urn:microsoft.com/office/officeart/2005/8/layout/vList3#1"/>
    <dgm:cxn modelId="{16D9D774-1D71-4817-A866-464F2D6B6F01}" type="presParOf" srcId="{929D0D88-7075-4888-9FE3-91BE5A74DF1C}" destId="{4E94D776-3AE0-4037-94E9-A0F6957146A3}" srcOrd="1" destOrd="0" presId="urn:microsoft.com/office/officeart/2005/8/layout/vList3#1"/>
    <dgm:cxn modelId="{DB8A505A-9C7D-43E4-9D20-1D026E1C88CC}" type="presParOf" srcId="{87058BDE-5535-4089-A0AA-1234D7F9F1C3}" destId="{25F6CC78-26D3-4A73-BE50-284020276647}" srcOrd="3" destOrd="0" presId="urn:microsoft.com/office/officeart/2005/8/layout/vList3#1"/>
    <dgm:cxn modelId="{AA6A9013-EA33-4333-9212-3395CD1D4EB7}" type="presParOf" srcId="{87058BDE-5535-4089-A0AA-1234D7F9F1C3}" destId="{DD1EC1FE-424B-476D-A119-77F04D0CD370}" srcOrd="4" destOrd="0" presId="urn:microsoft.com/office/officeart/2005/8/layout/vList3#1"/>
    <dgm:cxn modelId="{03740768-D4C7-4E6C-9231-CEF3C7C89D49}" type="presParOf" srcId="{DD1EC1FE-424B-476D-A119-77F04D0CD370}" destId="{3376CF8E-261A-4906-A83E-CC3CB1AA16F1}" srcOrd="0" destOrd="0" presId="urn:microsoft.com/office/officeart/2005/8/layout/vList3#1"/>
    <dgm:cxn modelId="{0EB57037-A1B9-4D7A-A195-73775804F977}" type="presParOf" srcId="{DD1EC1FE-424B-476D-A119-77F04D0CD370}" destId="{8AB5F03D-5127-4B4F-8781-66AA1653AB7E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2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F3E57B5-FD08-4624-B73D-E7BA214DCE55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China</a:t>
          </a:r>
          <a:endParaRPr lang="pt-BR" sz="1100" dirty="0"/>
        </a:p>
      </dgm:t>
    </dgm:pt>
    <dgm:pt modelId="{3AE26608-7BD1-49B2-A8C8-A028BEF9AC42}" type="parTrans" cxnId="{CC8C7A35-EABE-43A0-834C-4341D531833E}">
      <dgm:prSet/>
      <dgm:spPr/>
      <dgm:t>
        <a:bodyPr/>
        <a:lstStyle/>
        <a:p>
          <a:endParaRPr lang="pt-BR" sz="1100"/>
        </a:p>
      </dgm:t>
    </dgm:pt>
    <dgm:pt modelId="{BDCF2982-84EF-4203-BB0C-9D5F316011E3}" type="sibTrans" cxnId="{CC8C7A35-EABE-43A0-834C-4341D531833E}">
      <dgm:prSet/>
      <dgm:spPr/>
      <dgm:t>
        <a:bodyPr/>
        <a:lstStyle/>
        <a:p>
          <a:endParaRPr lang="pt-BR" sz="1100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India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 sz="1100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 sz="1100"/>
        </a:p>
      </dgm:t>
    </dgm:pt>
    <dgm:pt modelId="{216241E0-54DE-4095-B34B-DF0D312705AD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Japan</a:t>
          </a:r>
          <a:endParaRPr lang="pt-BR" sz="1100" dirty="0"/>
        </a:p>
      </dgm:t>
    </dgm:pt>
    <dgm:pt modelId="{2FF7450B-B5DC-46FD-8EFB-F0DFBA442E39}" type="parTrans" cxnId="{7CE6F46E-6A53-4163-9D5C-111281A54B67}">
      <dgm:prSet/>
      <dgm:spPr/>
      <dgm:t>
        <a:bodyPr/>
        <a:lstStyle/>
        <a:p>
          <a:endParaRPr lang="pt-BR" sz="1100"/>
        </a:p>
      </dgm:t>
    </dgm:pt>
    <dgm:pt modelId="{08C1BC83-C1A9-4451-BEFB-46FBF7EDC1CF}" type="sibTrans" cxnId="{7CE6F46E-6A53-4163-9D5C-111281A54B67}">
      <dgm:prSet/>
      <dgm:spPr/>
      <dgm:t>
        <a:bodyPr/>
        <a:lstStyle/>
        <a:p>
          <a:endParaRPr lang="pt-BR" sz="1100"/>
        </a:p>
      </dgm:t>
    </dgm:pt>
    <dgm:pt modelId="{2D9EFBBA-AAF5-43C6-936E-4AE23FE0DD9C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Korea</a:t>
          </a:r>
          <a:endParaRPr lang="pt-BR" sz="1100" dirty="0"/>
        </a:p>
      </dgm:t>
    </dgm:pt>
    <dgm:pt modelId="{0D944B03-5D25-4B33-93F2-423540C0AEAC}" type="parTrans" cxnId="{91BC5990-3D15-47E4-8BEB-1739EB90F016}">
      <dgm:prSet/>
      <dgm:spPr/>
      <dgm:t>
        <a:bodyPr/>
        <a:lstStyle/>
        <a:p>
          <a:endParaRPr lang="pt-BR" sz="1100"/>
        </a:p>
      </dgm:t>
    </dgm:pt>
    <dgm:pt modelId="{FFF842C1-58F2-4B6E-99BE-A46EA189DCB8}" type="sibTrans" cxnId="{91BC5990-3D15-47E4-8BEB-1739EB90F016}">
      <dgm:prSet/>
      <dgm:spPr/>
      <dgm:t>
        <a:bodyPr/>
        <a:lstStyle/>
        <a:p>
          <a:endParaRPr lang="pt-BR" sz="1100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Peru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 sz="1100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 sz="1100"/>
        </a:p>
      </dgm:t>
    </dgm:pt>
    <dgm:pt modelId="{178E99A3-16B9-4994-A6A4-87D3CB6DAEF8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Chile</a:t>
          </a:r>
          <a:endParaRPr lang="pt-BR" sz="1100" dirty="0"/>
        </a:p>
      </dgm:t>
    </dgm:pt>
    <dgm:pt modelId="{0AA33D00-D933-4989-ADE5-E8A3678F5C7C}" type="parTrans" cxnId="{EAD71EB8-7FD6-4025-9493-831874C85979}">
      <dgm:prSet/>
      <dgm:spPr/>
      <dgm:t>
        <a:bodyPr/>
        <a:lstStyle/>
        <a:p>
          <a:endParaRPr lang="pt-BR" sz="1100"/>
        </a:p>
      </dgm:t>
    </dgm:pt>
    <dgm:pt modelId="{3C34A19D-506D-46DA-A397-30F0395A497C}" type="sibTrans" cxnId="{EAD71EB8-7FD6-4025-9493-831874C85979}">
      <dgm:prSet/>
      <dgm:spPr/>
      <dgm:t>
        <a:bodyPr/>
        <a:lstStyle/>
        <a:p>
          <a:endParaRPr lang="pt-BR" sz="1100"/>
        </a:p>
      </dgm:t>
    </dgm:pt>
    <dgm:pt modelId="{36D35940-303C-4DF1-9272-AF9082E4AFE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Colombia</a:t>
          </a:r>
          <a:endParaRPr lang="pt-BR" sz="1100" dirty="0"/>
        </a:p>
      </dgm:t>
    </dgm:pt>
    <dgm:pt modelId="{BA14E538-BCD5-4ACE-B74D-14F9120E2A8A}" type="parTrans" cxnId="{3B6361A5-C2E0-41C3-A5F6-A1F417EFAAFD}">
      <dgm:prSet/>
      <dgm:spPr/>
      <dgm:t>
        <a:bodyPr/>
        <a:lstStyle/>
        <a:p>
          <a:endParaRPr lang="pt-BR" sz="1100"/>
        </a:p>
      </dgm:t>
    </dgm:pt>
    <dgm:pt modelId="{E02E3F13-6252-43CF-AE56-87DC1197EE40}" type="sibTrans" cxnId="{3B6361A5-C2E0-41C3-A5F6-A1F417EFAAFD}">
      <dgm:prSet/>
      <dgm:spPr/>
      <dgm:t>
        <a:bodyPr/>
        <a:lstStyle/>
        <a:p>
          <a:endParaRPr lang="pt-BR" sz="1100"/>
        </a:p>
      </dgm:t>
    </dgm:pt>
    <dgm:pt modelId="{E4C51021-2606-49AD-B29F-91D548730DB0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Thailand</a:t>
          </a:r>
          <a:endParaRPr lang="pt-BR" sz="1100" dirty="0"/>
        </a:p>
      </dgm:t>
    </dgm:pt>
    <dgm:pt modelId="{D631D28C-AF55-4EA6-882A-AF8B31459240}" type="parTrans" cxnId="{617D86D5-F28F-4E21-A0FF-EB0F13285494}">
      <dgm:prSet/>
      <dgm:spPr/>
      <dgm:t>
        <a:bodyPr/>
        <a:lstStyle/>
        <a:p>
          <a:endParaRPr lang="en-US" sz="1100"/>
        </a:p>
      </dgm:t>
    </dgm:pt>
    <dgm:pt modelId="{77E0B3BB-07D7-4885-8C2E-F4F2B9E0FBA3}" type="sibTrans" cxnId="{617D86D5-F28F-4E21-A0FF-EB0F13285494}">
      <dgm:prSet/>
      <dgm:spPr/>
      <dgm:t>
        <a:bodyPr/>
        <a:lstStyle/>
        <a:p>
          <a:endParaRPr lang="en-US" sz="1100"/>
        </a:p>
      </dgm:t>
    </dgm:pt>
    <dgm:pt modelId="{D5DE5A5A-41FA-4338-892F-38D7518EDF58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050" dirty="0" smtClean="0"/>
            <a:t>Singapore</a:t>
          </a:r>
          <a:endParaRPr lang="pt-BR" sz="1050" dirty="0"/>
        </a:p>
      </dgm:t>
    </dgm:pt>
    <dgm:pt modelId="{0A794C8E-8452-4209-92BF-0D167CA4A5A5}" type="parTrans" cxnId="{9620CAB6-DA05-4587-883E-BC76B71CAB89}">
      <dgm:prSet/>
      <dgm:spPr/>
      <dgm:t>
        <a:bodyPr/>
        <a:lstStyle/>
        <a:p>
          <a:endParaRPr lang="en-US" sz="1100"/>
        </a:p>
      </dgm:t>
    </dgm:pt>
    <dgm:pt modelId="{55A5591B-D62F-4F40-8534-3EC696C4BDF4}" type="sibTrans" cxnId="{9620CAB6-DA05-4587-883E-BC76B71CAB89}">
      <dgm:prSet/>
      <dgm:spPr/>
      <dgm:t>
        <a:bodyPr/>
        <a:lstStyle/>
        <a:p>
          <a:endParaRPr lang="en-US" sz="1100"/>
        </a:p>
      </dgm:t>
    </dgm:pt>
    <dgm:pt modelId="{FBD14F47-CFEA-46D7-8FD0-63254F486CF4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USA</a:t>
          </a:r>
          <a:endParaRPr lang="pt-BR" sz="1100" dirty="0"/>
        </a:p>
      </dgm:t>
    </dgm:pt>
    <dgm:pt modelId="{FD4B1AF9-100B-4C88-BF47-D7EB99EEC245}" type="parTrans" cxnId="{29C4BC84-F3FE-4834-9ADE-B241C486976D}">
      <dgm:prSet/>
      <dgm:spPr/>
      <dgm:t>
        <a:bodyPr/>
        <a:lstStyle/>
        <a:p>
          <a:endParaRPr lang="en-US" sz="1100"/>
        </a:p>
      </dgm:t>
    </dgm:pt>
    <dgm:pt modelId="{2E8F82B0-46E6-475E-816C-CB745EA0A1C1}" type="sibTrans" cxnId="{29C4BC84-F3FE-4834-9ADE-B241C486976D}">
      <dgm:prSet/>
      <dgm:spPr/>
      <dgm:t>
        <a:bodyPr/>
        <a:lstStyle/>
        <a:p>
          <a:endParaRPr lang="en-US" sz="1100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29D0D88-7075-4888-9FE3-91BE5A74DF1C}" type="pres">
      <dgm:prSet presAssocID="{BF3E57B5-FD08-4624-B73D-E7BA214DCE55}" presName="composite" presStyleCnt="0"/>
      <dgm:spPr/>
    </dgm:pt>
    <dgm:pt modelId="{AD7398DF-35D2-4429-9557-67D2E7E0D76C}" type="pres">
      <dgm:prSet presAssocID="{BF3E57B5-FD08-4624-B73D-E7BA214DCE55}" presName="imgShp" presStyleLbl="fgImgPlace1" presStyleIdx="0" presStyleCnt="10" custScaleX="67842" custScaleY="72863" custLinFactY="1882" custLinFactNeighborX="19017" custLinFactNeighborY="100000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pt-BR"/>
        </a:p>
      </dgm:t>
    </dgm:pt>
    <dgm:pt modelId="{4E94D776-3AE0-4037-94E9-A0F6957146A3}" type="pres">
      <dgm:prSet presAssocID="{BF3E57B5-FD08-4624-B73D-E7BA214DCE55}" presName="txShp" presStyleLbl="node1" presStyleIdx="0" presStyleCnt="10" custScaleX="118966" custScaleY="71073" custLinFactY="987" custLinFactNeighborY="100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25F6CC78-26D3-4A73-BE50-284020276647}" type="pres">
      <dgm:prSet presAssocID="{BDCF2982-84EF-4203-BB0C-9D5F316011E3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1" presStyleCnt="10" custScaleX="67842" custScaleY="72863" custLinFactNeighborX="19017" custLinFactNeighborY="81593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1" presStyleCnt="10" custScaleX="118966" custScaleY="71073" custLinFactNeighborY="80698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F3D82ABC-9063-4447-9B99-5B57F0B1F08F}" type="pres">
      <dgm:prSet presAssocID="{216241E0-54DE-4095-B34B-DF0D312705AD}" presName="composite" presStyleCnt="0"/>
      <dgm:spPr/>
    </dgm:pt>
    <dgm:pt modelId="{EAC25227-1C42-49D0-89BD-CCF4E667B392}" type="pres">
      <dgm:prSet presAssocID="{216241E0-54DE-4095-B34B-DF0D312705AD}" presName="imgShp" presStyleLbl="fgImgPlace1" presStyleIdx="2" presStyleCnt="10" custScaleX="67842" custScaleY="72863" custLinFactNeighborX="19017" custLinFactNeighborY="66341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</dgm:spPr>
      <dgm:t>
        <a:bodyPr/>
        <a:lstStyle/>
        <a:p>
          <a:endParaRPr lang="pt-BR"/>
        </a:p>
      </dgm:t>
    </dgm:pt>
    <dgm:pt modelId="{092ECB79-F2D9-4ADE-968D-7CAC081472A0}" type="pres">
      <dgm:prSet presAssocID="{216241E0-54DE-4095-B34B-DF0D312705AD}" presName="txShp" presStyleLbl="node1" presStyleIdx="2" presStyleCnt="10" custScaleX="118966" custScaleY="71073" custLinFactNeighborY="65446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F1389DB4-95CE-470F-91D4-C0FD9C079EE8}" type="pres">
      <dgm:prSet presAssocID="{08C1BC83-C1A9-4451-BEFB-46FBF7EDC1CF}" presName="spacing" presStyleCnt="0"/>
      <dgm:spPr/>
    </dgm:pt>
    <dgm:pt modelId="{F172EEB0-7AD0-4053-8545-AB0C615844D7}" type="pres">
      <dgm:prSet presAssocID="{2D9EFBBA-AAF5-43C6-936E-4AE23FE0DD9C}" presName="composite" presStyleCnt="0"/>
      <dgm:spPr/>
    </dgm:pt>
    <dgm:pt modelId="{8E8FFB15-7249-41CC-87BE-02FF1CE2CA73}" type="pres">
      <dgm:prSet presAssocID="{2D9EFBBA-AAF5-43C6-936E-4AE23FE0DD9C}" presName="imgShp" presStyleLbl="fgImgPlace1" presStyleIdx="3" presStyleCnt="10" custScaleX="67842" custScaleY="72863" custLinFactNeighborX="19017" custLinFactNeighborY="48729"/>
      <dgm:spPr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pt-BR"/>
        </a:p>
      </dgm:t>
    </dgm:pt>
    <dgm:pt modelId="{1D10B91D-C43A-46BB-8BA3-6C1AEEBC53CE}" type="pres">
      <dgm:prSet presAssocID="{2D9EFBBA-AAF5-43C6-936E-4AE23FE0DD9C}" presName="txShp" presStyleLbl="node1" presStyleIdx="3" presStyleCnt="10" custScaleX="118966" custScaleY="71073" custLinFactNeighborY="47834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16EC8316-63F1-49CA-BC0D-34A6AB57CF3B}" type="pres">
      <dgm:prSet presAssocID="{FFF842C1-58F2-4B6E-99BE-A46EA189DCB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4" presStyleCnt="10" custScaleX="67842" custScaleY="72863" custLinFactNeighborX="19017" custLinFactNeighborY="28440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8000" r="-28000"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4" presStyleCnt="10" custScaleX="118966" custScaleY="71073" custLinFactNeighborY="27545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021ECEBE-A334-4342-A00F-133F51F25673}" type="pres">
      <dgm:prSet presAssocID="{C0181B45-3A77-4935-AC53-7F62631E5930}" presName="spacing" presStyleCnt="0"/>
      <dgm:spPr/>
    </dgm:pt>
    <dgm:pt modelId="{267D8A28-12C0-4084-8386-3AEB5F1696FA}" type="pres">
      <dgm:prSet presAssocID="{178E99A3-16B9-4994-A6A4-87D3CB6DAEF8}" presName="composite" presStyleCnt="0"/>
      <dgm:spPr/>
    </dgm:pt>
    <dgm:pt modelId="{80055D65-0E23-405E-A3F7-A767BCABD384}" type="pres">
      <dgm:prSet presAssocID="{178E99A3-16B9-4994-A6A4-87D3CB6DAEF8}" presName="imgShp" presStyleLbl="fgImgPlace1" presStyleIdx="5" presStyleCnt="10" custScaleX="67842" custScaleY="72863" custLinFactNeighborX="19017" custLinFactNeighborY="7834"/>
      <dgm:spPr>
        <a:blipFill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</dgm:spPr>
      <dgm:t>
        <a:bodyPr/>
        <a:lstStyle/>
        <a:p>
          <a:endParaRPr lang="pt-BR"/>
        </a:p>
      </dgm:t>
    </dgm:pt>
    <dgm:pt modelId="{95854B4E-F91C-4772-9068-EF188564CC05}" type="pres">
      <dgm:prSet presAssocID="{178E99A3-16B9-4994-A6A4-87D3CB6DAEF8}" presName="txShp" presStyleLbl="node1" presStyleIdx="5" presStyleCnt="10" custScaleX="118966" custScaleY="71073" custLinFactNeighborY="693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0363D3D3-FEBF-4140-81EA-DC7B4A6A0E6E}" type="pres">
      <dgm:prSet presAssocID="{3C34A19D-506D-46DA-A397-30F0395A497C}" presName="spacing" presStyleCnt="0"/>
      <dgm:spPr/>
    </dgm:pt>
    <dgm:pt modelId="{8D53612D-6F26-49FC-9972-2C05868A9944}" type="pres">
      <dgm:prSet presAssocID="{36D35940-303C-4DF1-9272-AF9082E4AFEA}" presName="composite" presStyleCnt="0"/>
      <dgm:spPr/>
    </dgm:pt>
    <dgm:pt modelId="{20A8C45F-2383-48EB-8FC2-A699C13C1C68}" type="pres">
      <dgm:prSet presAssocID="{36D35940-303C-4DF1-9272-AF9082E4AFEA}" presName="imgShp" presStyleLbl="fgImgPlace1" presStyleIdx="6" presStyleCnt="10" custScaleX="67842" custScaleY="72863" custLinFactNeighborX="19017" custLinFactNeighborY="-1009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pt-BR"/>
        </a:p>
      </dgm:t>
    </dgm:pt>
    <dgm:pt modelId="{A001FFF7-5020-4280-B33F-27473DE5BC57}" type="pres">
      <dgm:prSet presAssocID="{36D35940-303C-4DF1-9272-AF9082E4AFEA}" presName="txShp" presStyleLbl="node1" presStyleIdx="6" presStyleCnt="10" custScaleX="118966" custScaleY="71073" custLinFactNeighborY="-1099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88EFE18D-D6BD-40C8-A882-97689957D5FA}" type="pres">
      <dgm:prSet presAssocID="{E02E3F13-6252-43CF-AE56-87DC1197EE40}" presName="spacing" presStyleCnt="0"/>
      <dgm:spPr/>
    </dgm:pt>
    <dgm:pt modelId="{78466868-E615-4777-BF74-46925084A1B4}" type="pres">
      <dgm:prSet presAssocID="{FBD14F47-CFEA-46D7-8FD0-63254F486CF4}" presName="composite" presStyleCnt="0"/>
      <dgm:spPr/>
    </dgm:pt>
    <dgm:pt modelId="{31FA9C18-8F72-4975-8BB4-31D5F60F6146}" type="pres">
      <dgm:prSet presAssocID="{FBD14F47-CFEA-46D7-8FD0-63254F486CF4}" presName="imgShp" presStyleLbl="fgImgPlace1" presStyleIdx="7" presStyleCnt="10" custScaleX="67842" custScaleY="72863" custLinFactNeighborX="19017" custLinFactNeighborY="-25417"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A427BA3-51CB-4447-889D-B02585E033DB}" type="pres">
      <dgm:prSet presAssocID="{FBD14F47-CFEA-46D7-8FD0-63254F486CF4}" presName="txShp" presStyleLbl="node1" presStyleIdx="7" presStyleCnt="10" custScaleX="118966" custScaleY="71073" custLinFactNeighborY="-26312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13495C5B-70E7-4570-9EEB-3D84CEA3C68A}" type="pres">
      <dgm:prSet presAssocID="{2E8F82B0-46E6-475E-816C-CB745EA0A1C1}" presName="spacing" presStyleCnt="0"/>
      <dgm:spPr/>
    </dgm:pt>
    <dgm:pt modelId="{84F646AF-A60B-4922-A007-72933E00B3EE}" type="pres">
      <dgm:prSet presAssocID="{E4C51021-2606-49AD-B29F-91D548730DB0}" presName="composite" presStyleCnt="0"/>
      <dgm:spPr/>
    </dgm:pt>
    <dgm:pt modelId="{55F35D06-A742-40B3-905D-630CA9FDEC31}" type="pres">
      <dgm:prSet presAssocID="{E4C51021-2606-49AD-B29F-91D548730DB0}" presName="imgShp" presStyleLbl="fgImgPlace1" presStyleIdx="8" presStyleCnt="10" custScaleX="67842" custScaleY="72863" custLinFactNeighborX="19017" custLinFactNeighborY="-40695"/>
      <dgm:spPr>
        <a:blipFill rotWithShape="1">
          <a:blip xmlns:r="http://schemas.openxmlformats.org/officeDocument/2006/relationships" r:embed="rId9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AB704C5C-019B-4969-BA25-8A80AB184AE6}" type="pres">
      <dgm:prSet presAssocID="{E4C51021-2606-49AD-B29F-91D548730DB0}" presName="txShp" presStyleLbl="node1" presStyleIdx="8" presStyleCnt="10" custScaleX="118966" custScaleY="71073" custLinFactNeighborY="-4159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FDCB60ED-F3B6-4ADB-95B5-0AFF82A27DEA}" type="pres">
      <dgm:prSet presAssocID="{77E0B3BB-07D7-4885-8C2E-F4F2B9E0FBA3}" presName="spacing" presStyleCnt="0"/>
      <dgm:spPr/>
    </dgm:pt>
    <dgm:pt modelId="{3C14BCCC-CBBF-49C4-918F-E6BC9EFB87BF}" type="pres">
      <dgm:prSet presAssocID="{D5DE5A5A-41FA-4338-892F-38D7518EDF58}" presName="composite" presStyleCnt="0"/>
      <dgm:spPr/>
    </dgm:pt>
    <dgm:pt modelId="{A7C2C960-C0B9-43E7-BA9A-FD9E69A85922}" type="pres">
      <dgm:prSet presAssocID="{D5DE5A5A-41FA-4338-892F-38D7518EDF58}" presName="imgShp" presStyleLbl="fgImgPlace1" presStyleIdx="9" presStyleCnt="10" custScaleX="67842" custScaleY="72863" custLinFactNeighborX="19017" custLinFactNeighborY="-64026"/>
      <dgm:spPr>
        <a:blipFill rotWithShape="1">
          <a:blip xmlns:r="http://schemas.openxmlformats.org/officeDocument/2006/relationships" r:embed="rId10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7E3F92AB-2155-4B12-B1C1-19C5EC08C7CF}" type="pres">
      <dgm:prSet presAssocID="{D5DE5A5A-41FA-4338-892F-38D7518EDF58}" presName="txShp" presStyleLbl="node1" presStyleIdx="9" presStyleCnt="10" custScaleX="118966" custScaleY="71073" custLinFactNeighborY="-64921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</dgm:ptLst>
  <dgm:cxnLst>
    <dgm:cxn modelId="{EAD71EB8-7FD6-4025-9493-831874C85979}" srcId="{8424DC7B-61D0-4B32-9250-D2600E5E661F}" destId="{178E99A3-16B9-4994-A6A4-87D3CB6DAEF8}" srcOrd="5" destOrd="0" parTransId="{0AA33D00-D933-4989-ADE5-E8A3678F5C7C}" sibTransId="{3C34A19D-506D-46DA-A397-30F0395A497C}"/>
    <dgm:cxn modelId="{9040FD67-BD5F-4D57-9F57-6392CF51F861}" type="presOf" srcId="{BF3E57B5-FD08-4624-B73D-E7BA214DCE55}" destId="{4E94D776-3AE0-4037-94E9-A0F6957146A3}" srcOrd="0" destOrd="0" presId="urn:microsoft.com/office/officeart/2005/8/layout/vList3#2"/>
    <dgm:cxn modelId="{648C2E79-6545-490E-A941-B5BB15A9CC66}" type="presOf" srcId="{E4C51021-2606-49AD-B29F-91D548730DB0}" destId="{AB704C5C-019B-4969-BA25-8A80AB184AE6}" srcOrd="0" destOrd="0" presId="urn:microsoft.com/office/officeart/2005/8/layout/vList3#2"/>
    <dgm:cxn modelId="{CC8C7A35-EABE-43A0-834C-4341D531833E}" srcId="{8424DC7B-61D0-4B32-9250-D2600E5E661F}" destId="{BF3E57B5-FD08-4624-B73D-E7BA214DCE55}" srcOrd="0" destOrd="0" parTransId="{3AE26608-7BD1-49B2-A8C8-A028BEF9AC42}" sibTransId="{BDCF2982-84EF-4203-BB0C-9D5F316011E3}"/>
    <dgm:cxn modelId="{5FF0D3C1-DAB0-44C9-942C-D177366541E8}" type="presOf" srcId="{216241E0-54DE-4095-B34B-DF0D312705AD}" destId="{092ECB79-F2D9-4ADE-968D-7CAC081472A0}" srcOrd="0" destOrd="0" presId="urn:microsoft.com/office/officeart/2005/8/layout/vList3#2"/>
    <dgm:cxn modelId="{625B81A2-B95D-4802-9E74-78D55EC93F83}" type="presOf" srcId="{36D35940-303C-4DF1-9272-AF9082E4AFEA}" destId="{A001FFF7-5020-4280-B33F-27473DE5BC57}" srcOrd="0" destOrd="0" presId="urn:microsoft.com/office/officeart/2005/8/layout/vList3#2"/>
    <dgm:cxn modelId="{93B60D76-3954-4AB0-AD04-EB56617C311C}" type="presOf" srcId="{178E99A3-16B9-4994-A6A4-87D3CB6DAEF8}" destId="{95854B4E-F91C-4772-9068-EF188564CC05}" srcOrd="0" destOrd="0" presId="urn:microsoft.com/office/officeart/2005/8/layout/vList3#2"/>
    <dgm:cxn modelId="{91BC5990-3D15-47E4-8BEB-1739EB90F016}" srcId="{8424DC7B-61D0-4B32-9250-D2600E5E661F}" destId="{2D9EFBBA-AAF5-43C6-936E-4AE23FE0DD9C}" srcOrd="3" destOrd="0" parTransId="{0D944B03-5D25-4B33-93F2-423540C0AEAC}" sibTransId="{FFF842C1-58F2-4B6E-99BE-A46EA189DCB8}"/>
    <dgm:cxn modelId="{7CE6F46E-6A53-4163-9D5C-111281A54B67}" srcId="{8424DC7B-61D0-4B32-9250-D2600E5E661F}" destId="{216241E0-54DE-4095-B34B-DF0D312705AD}" srcOrd="2" destOrd="0" parTransId="{2FF7450B-B5DC-46FD-8EFB-F0DFBA442E39}" sibTransId="{08C1BC83-C1A9-4451-BEFB-46FBF7EDC1CF}"/>
    <dgm:cxn modelId="{DFE17465-2311-4420-B2B7-B4F2172261DD}" srcId="{8424DC7B-61D0-4B32-9250-D2600E5E661F}" destId="{5448CEB9-8650-438E-8FB3-C42D0EB69ACA}" srcOrd="1" destOrd="0" parTransId="{16A69258-7DEA-4922-9BF4-EE42C4975625}" sibTransId="{00E2C79A-ED8B-4AC0-AC58-AE040DA88948}"/>
    <dgm:cxn modelId="{0494BDA9-F690-49D8-A856-FC390B028062}" type="presOf" srcId="{C45CAB58-00D0-484A-BD5A-4E91A7FBCB76}" destId="{F5A9A23F-C721-4779-BD70-16DAAFF968E9}" srcOrd="0" destOrd="0" presId="urn:microsoft.com/office/officeart/2005/8/layout/vList3#2"/>
    <dgm:cxn modelId="{591A02F2-E541-4C45-9F3E-04EA2D252A4D}" type="presOf" srcId="{D5DE5A5A-41FA-4338-892F-38D7518EDF58}" destId="{7E3F92AB-2155-4B12-B1C1-19C5EC08C7CF}" srcOrd="0" destOrd="0" presId="urn:microsoft.com/office/officeart/2005/8/layout/vList3#2"/>
    <dgm:cxn modelId="{3B6361A5-C2E0-41C3-A5F6-A1F417EFAAFD}" srcId="{8424DC7B-61D0-4B32-9250-D2600E5E661F}" destId="{36D35940-303C-4DF1-9272-AF9082E4AFEA}" srcOrd="6" destOrd="0" parTransId="{BA14E538-BCD5-4ACE-B74D-14F9120E2A8A}" sibTransId="{E02E3F13-6252-43CF-AE56-87DC1197EE40}"/>
    <dgm:cxn modelId="{20E3458B-91AA-4FFA-B760-E6CB8CF1E473}" type="presOf" srcId="{5448CEB9-8650-438E-8FB3-C42D0EB69ACA}" destId="{8AB5F03D-5127-4B4F-8781-66AA1653AB7E}" srcOrd="0" destOrd="0" presId="urn:microsoft.com/office/officeart/2005/8/layout/vList3#2"/>
    <dgm:cxn modelId="{29C4BC84-F3FE-4834-9ADE-B241C486976D}" srcId="{8424DC7B-61D0-4B32-9250-D2600E5E661F}" destId="{FBD14F47-CFEA-46D7-8FD0-63254F486CF4}" srcOrd="7" destOrd="0" parTransId="{FD4B1AF9-100B-4C88-BF47-D7EB99EEC245}" sibTransId="{2E8F82B0-46E6-475E-816C-CB745EA0A1C1}"/>
    <dgm:cxn modelId="{9694B66B-B388-4E68-93A9-CD790A35284A}" type="presOf" srcId="{FBD14F47-CFEA-46D7-8FD0-63254F486CF4}" destId="{5A427BA3-51CB-4447-889D-B02585E033DB}" srcOrd="0" destOrd="0" presId="urn:microsoft.com/office/officeart/2005/8/layout/vList3#2"/>
    <dgm:cxn modelId="{30551780-CD76-4168-8911-A903C6258A63}" srcId="{8424DC7B-61D0-4B32-9250-D2600E5E661F}" destId="{C45CAB58-00D0-484A-BD5A-4E91A7FBCB76}" srcOrd="4" destOrd="0" parTransId="{1B29F30B-FE38-45AD-8084-7CEE50C87D82}" sibTransId="{C0181B45-3A77-4935-AC53-7F62631E5930}"/>
    <dgm:cxn modelId="{E2A44A9F-9B4F-4F8C-AD35-1D330611A84C}" type="presOf" srcId="{8424DC7B-61D0-4B32-9250-D2600E5E661F}" destId="{87058BDE-5535-4089-A0AA-1234D7F9F1C3}" srcOrd="0" destOrd="0" presId="urn:microsoft.com/office/officeart/2005/8/layout/vList3#2"/>
    <dgm:cxn modelId="{617D86D5-F28F-4E21-A0FF-EB0F13285494}" srcId="{8424DC7B-61D0-4B32-9250-D2600E5E661F}" destId="{E4C51021-2606-49AD-B29F-91D548730DB0}" srcOrd="8" destOrd="0" parTransId="{D631D28C-AF55-4EA6-882A-AF8B31459240}" sibTransId="{77E0B3BB-07D7-4885-8C2E-F4F2B9E0FBA3}"/>
    <dgm:cxn modelId="{9F229F0A-AEF8-481F-8616-85819313AF03}" type="presOf" srcId="{2D9EFBBA-AAF5-43C6-936E-4AE23FE0DD9C}" destId="{1D10B91D-C43A-46BB-8BA3-6C1AEEBC53CE}" srcOrd="0" destOrd="0" presId="urn:microsoft.com/office/officeart/2005/8/layout/vList3#2"/>
    <dgm:cxn modelId="{9620CAB6-DA05-4587-883E-BC76B71CAB89}" srcId="{8424DC7B-61D0-4B32-9250-D2600E5E661F}" destId="{D5DE5A5A-41FA-4338-892F-38D7518EDF58}" srcOrd="9" destOrd="0" parTransId="{0A794C8E-8452-4209-92BF-0D167CA4A5A5}" sibTransId="{55A5591B-D62F-4F40-8534-3EC696C4BDF4}"/>
    <dgm:cxn modelId="{C38F50FA-F6FB-4F46-A6C1-900688A2733C}" type="presParOf" srcId="{87058BDE-5535-4089-A0AA-1234D7F9F1C3}" destId="{929D0D88-7075-4888-9FE3-91BE5A74DF1C}" srcOrd="0" destOrd="0" presId="urn:microsoft.com/office/officeart/2005/8/layout/vList3#2"/>
    <dgm:cxn modelId="{88D1F699-64B1-4039-BD66-B89F737725D6}" type="presParOf" srcId="{929D0D88-7075-4888-9FE3-91BE5A74DF1C}" destId="{AD7398DF-35D2-4429-9557-67D2E7E0D76C}" srcOrd="0" destOrd="0" presId="urn:microsoft.com/office/officeart/2005/8/layout/vList3#2"/>
    <dgm:cxn modelId="{9AAD0094-9F86-4752-88A1-54D2374C1155}" type="presParOf" srcId="{929D0D88-7075-4888-9FE3-91BE5A74DF1C}" destId="{4E94D776-3AE0-4037-94E9-A0F6957146A3}" srcOrd="1" destOrd="0" presId="urn:microsoft.com/office/officeart/2005/8/layout/vList3#2"/>
    <dgm:cxn modelId="{39A5FF52-A6DF-4072-B212-5DD0C1CDEEB8}" type="presParOf" srcId="{87058BDE-5535-4089-A0AA-1234D7F9F1C3}" destId="{25F6CC78-26D3-4A73-BE50-284020276647}" srcOrd="1" destOrd="0" presId="urn:microsoft.com/office/officeart/2005/8/layout/vList3#2"/>
    <dgm:cxn modelId="{DB8AF91C-846A-44E4-98F1-9D45C9E4A000}" type="presParOf" srcId="{87058BDE-5535-4089-A0AA-1234D7F9F1C3}" destId="{DD1EC1FE-424B-476D-A119-77F04D0CD370}" srcOrd="2" destOrd="0" presId="urn:microsoft.com/office/officeart/2005/8/layout/vList3#2"/>
    <dgm:cxn modelId="{11582327-9FF3-4AD1-BAA3-5E9BCE573795}" type="presParOf" srcId="{DD1EC1FE-424B-476D-A119-77F04D0CD370}" destId="{3376CF8E-261A-4906-A83E-CC3CB1AA16F1}" srcOrd="0" destOrd="0" presId="urn:microsoft.com/office/officeart/2005/8/layout/vList3#2"/>
    <dgm:cxn modelId="{4AEBC0D9-7977-4BE1-B961-16900270B34C}" type="presParOf" srcId="{DD1EC1FE-424B-476D-A119-77F04D0CD370}" destId="{8AB5F03D-5127-4B4F-8781-66AA1653AB7E}" srcOrd="1" destOrd="0" presId="urn:microsoft.com/office/officeart/2005/8/layout/vList3#2"/>
    <dgm:cxn modelId="{D0C8EBF6-9A8A-4E29-9123-F6BB95C2BFDC}" type="presParOf" srcId="{87058BDE-5535-4089-A0AA-1234D7F9F1C3}" destId="{963671C7-9FC0-460F-9EE7-9EC05E2546EC}" srcOrd="3" destOrd="0" presId="urn:microsoft.com/office/officeart/2005/8/layout/vList3#2"/>
    <dgm:cxn modelId="{92EB042E-713E-4613-ADE2-0E033BA7D339}" type="presParOf" srcId="{87058BDE-5535-4089-A0AA-1234D7F9F1C3}" destId="{F3D82ABC-9063-4447-9B99-5B57F0B1F08F}" srcOrd="4" destOrd="0" presId="urn:microsoft.com/office/officeart/2005/8/layout/vList3#2"/>
    <dgm:cxn modelId="{B0F1B718-DC92-41EF-955B-9860DB930DCC}" type="presParOf" srcId="{F3D82ABC-9063-4447-9B99-5B57F0B1F08F}" destId="{EAC25227-1C42-49D0-89BD-CCF4E667B392}" srcOrd="0" destOrd="0" presId="urn:microsoft.com/office/officeart/2005/8/layout/vList3#2"/>
    <dgm:cxn modelId="{19EF2F07-B90B-4EE5-8246-CB10D3C9BE4C}" type="presParOf" srcId="{F3D82ABC-9063-4447-9B99-5B57F0B1F08F}" destId="{092ECB79-F2D9-4ADE-968D-7CAC081472A0}" srcOrd="1" destOrd="0" presId="urn:microsoft.com/office/officeart/2005/8/layout/vList3#2"/>
    <dgm:cxn modelId="{415713F6-86B0-4C5E-8749-B1732886D4FD}" type="presParOf" srcId="{87058BDE-5535-4089-A0AA-1234D7F9F1C3}" destId="{F1389DB4-95CE-470F-91D4-C0FD9C079EE8}" srcOrd="5" destOrd="0" presId="urn:microsoft.com/office/officeart/2005/8/layout/vList3#2"/>
    <dgm:cxn modelId="{3B9EB6CF-DF48-4AE3-9B42-53A2FB09AB8B}" type="presParOf" srcId="{87058BDE-5535-4089-A0AA-1234D7F9F1C3}" destId="{F172EEB0-7AD0-4053-8545-AB0C615844D7}" srcOrd="6" destOrd="0" presId="urn:microsoft.com/office/officeart/2005/8/layout/vList3#2"/>
    <dgm:cxn modelId="{F772E56E-F73D-4D62-B063-707C115D5018}" type="presParOf" srcId="{F172EEB0-7AD0-4053-8545-AB0C615844D7}" destId="{8E8FFB15-7249-41CC-87BE-02FF1CE2CA73}" srcOrd="0" destOrd="0" presId="urn:microsoft.com/office/officeart/2005/8/layout/vList3#2"/>
    <dgm:cxn modelId="{D9263AC5-EE9E-4352-9BC5-535108455EF7}" type="presParOf" srcId="{F172EEB0-7AD0-4053-8545-AB0C615844D7}" destId="{1D10B91D-C43A-46BB-8BA3-6C1AEEBC53CE}" srcOrd="1" destOrd="0" presId="urn:microsoft.com/office/officeart/2005/8/layout/vList3#2"/>
    <dgm:cxn modelId="{55C73A08-48AB-48BF-AC96-5A455FBFBD85}" type="presParOf" srcId="{87058BDE-5535-4089-A0AA-1234D7F9F1C3}" destId="{16EC8316-63F1-49CA-BC0D-34A6AB57CF3B}" srcOrd="7" destOrd="0" presId="urn:microsoft.com/office/officeart/2005/8/layout/vList3#2"/>
    <dgm:cxn modelId="{03D431F1-DC9F-45F7-AA54-E8E487F46CEB}" type="presParOf" srcId="{87058BDE-5535-4089-A0AA-1234D7F9F1C3}" destId="{3E3E218C-9F8A-4DD2-A6B4-497CC7EDB507}" srcOrd="8" destOrd="0" presId="urn:microsoft.com/office/officeart/2005/8/layout/vList3#2"/>
    <dgm:cxn modelId="{A5E4583E-3934-4062-B72F-B8FA0DA1C93D}" type="presParOf" srcId="{3E3E218C-9F8A-4DD2-A6B4-497CC7EDB507}" destId="{472A3E97-5AC7-4093-8C5C-CC4F5B343949}" srcOrd="0" destOrd="0" presId="urn:microsoft.com/office/officeart/2005/8/layout/vList3#2"/>
    <dgm:cxn modelId="{862E1E9A-5C00-45DC-B716-48E30112FC11}" type="presParOf" srcId="{3E3E218C-9F8A-4DD2-A6B4-497CC7EDB507}" destId="{F5A9A23F-C721-4779-BD70-16DAAFF968E9}" srcOrd="1" destOrd="0" presId="urn:microsoft.com/office/officeart/2005/8/layout/vList3#2"/>
    <dgm:cxn modelId="{319C1A9B-D0FE-4039-9D55-39D202529CDF}" type="presParOf" srcId="{87058BDE-5535-4089-A0AA-1234D7F9F1C3}" destId="{021ECEBE-A334-4342-A00F-133F51F25673}" srcOrd="9" destOrd="0" presId="urn:microsoft.com/office/officeart/2005/8/layout/vList3#2"/>
    <dgm:cxn modelId="{6C41BEAE-3904-474D-923F-5EA77992194B}" type="presParOf" srcId="{87058BDE-5535-4089-A0AA-1234D7F9F1C3}" destId="{267D8A28-12C0-4084-8386-3AEB5F1696FA}" srcOrd="10" destOrd="0" presId="urn:microsoft.com/office/officeart/2005/8/layout/vList3#2"/>
    <dgm:cxn modelId="{F3C0C613-164F-432E-B662-56EDD572F075}" type="presParOf" srcId="{267D8A28-12C0-4084-8386-3AEB5F1696FA}" destId="{80055D65-0E23-405E-A3F7-A767BCABD384}" srcOrd="0" destOrd="0" presId="urn:microsoft.com/office/officeart/2005/8/layout/vList3#2"/>
    <dgm:cxn modelId="{0F6FB236-2404-4077-96C7-EB11B0B7B4BF}" type="presParOf" srcId="{267D8A28-12C0-4084-8386-3AEB5F1696FA}" destId="{95854B4E-F91C-4772-9068-EF188564CC05}" srcOrd="1" destOrd="0" presId="urn:microsoft.com/office/officeart/2005/8/layout/vList3#2"/>
    <dgm:cxn modelId="{5FA0407A-C2E4-4636-83D3-C009D441DB4B}" type="presParOf" srcId="{87058BDE-5535-4089-A0AA-1234D7F9F1C3}" destId="{0363D3D3-FEBF-4140-81EA-DC7B4A6A0E6E}" srcOrd="11" destOrd="0" presId="urn:microsoft.com/office/officeart/2005/8/layout/vList3#2"/>
    <dgm:cxn modelId="{846C3B2D-A2DF-4FBA-8C2A-7B5B12019862}" type="presParOf" srcId="{87058BDE-5535-4089-A0AA-1234D7F9F1C3}" destId="{8D53612D-6F26-49FC-9972-2C05868A9944}" srcOrd="12" destOrd="0" presId="urn:microsoft.com/office/officeart/2005/8/layout/vList3#2"/>
    <dgm:cxn modelId="{9C954689-796A-40EE-B918-6B7C5677775B}" type="presParOf" srcId="{8D53612D-6F26-49FC-9972-2C05868A9944}" destId="{20A8C45F-2383-48EB-8FC2-A699C13C1C68}" srcOrd="0" destOrd="0" presId="urn:microsoft.com/office/officeart/2005/8/layout/vList3#2"/>
    <dgm:cxn modelId="{5CB8E338-60E3-4281-BB92-F6C21DFAF7B4}" type="presParOf" srcId="{8D53612D-6F26-49FC-9972-2C05868A9944}" destId="{A001FFF7-5020-4280-B33F-27473DE5BC57}" srcOrd="1" destOrd="0" presId="urn:microsoft.com/office/officeart/2005/8/layout/vList3#2"/>
    <dgm:cxn modelId="{0E9AE1CB-9A70-44F0-A49F-3BF254E5D63F}" type="presParOf" srcId="{87058BDE-5535-4089-A0AA-1234D7F9F1C3}" destId="{88EFE18D-D6BD-40C8-A882-97689957D5FA}" srcOrd="13" destOrd="0" presId="urn:microsoft.com/office/officeart/2005/8/layout/vList3#2"/>
    <dgm:cxn modelId="{E1BACA11-3AC2-4CC0-8F3B-D60CF379C39B}" type="presParOf" srcId="{87058BDE-5535-4089-A0AA-1234D7F9F1C3}" destId="{78466868-E615-4777-BF74-46925084A1B4}" srcOrd="14" destOrd="0" presId="urn:microsoft.com/office/officeart/2005/8/layout/vList3#2"/>
    <dgm:cxn modelId="{D92DC73D-B8CA-424B-8F1D-17441894EC6E}" type="presParOf" srcId="{78466868-E615-4777-BF74-46925084A1B4}" destId="{31FA9C18-8F72-4975-8BB4-31D5F60F6146}" srcOrd="0" destOrd="0" presId="urn:microsoft.com/office/officeart/2005/8/layout/vList3#2"/>
    <dgm:cxn modelId="{F754CA45-EC0B-4CF1-8F1C-E33C1E61D9BA}" type="presParOf" srcId="{78466868-E615-4777-BF74-46925084A1B4}" destId="{5A427BA3-51CB-4447-889D-B02585E033DB}" srcOrd="1" destOrd="0" presId="urn:microsoft.com/office/officeart/2005/8/layout/vList3#2"/>
    <dgm:cxn modelId="{011C1FED-C79E-4135-91CB-1FAF3E7A3DE2}" type="presParOf" srcId="{87058BDE-5535-4089-A0AA-1234D7F9F1C3}" destId="{13495C5B-70E7-4570-9EEB-3D84CEA3C68A}" srcOrd="15" destOrd="0" presId="urn:microsoft.com/office/officeart/2005/8/layout/vList3#2"/>
    <dgm:cxn modelId="{F29465E1-285F-48E0-A454-CDA5D02D1FF8}" type="presParOf" srcId="{87058BDE-5535-4089-A0AA-1234D7F9F1C3}" destId="{84F646AF-A60B-4922-A007-72933E00B3EE}" srcOrd="16" destOrd="0" presId="urn:microsoft.com/office/officeart/2005/8/layout/vList3#2"/>
    <dgm:cxn modelId="{85601FC5-5E3B-4B33-A7EE-02312918B11B}" type="presParOf" srcId="{84F646AF-A60B-4922-A007-72933E00B3EE}" destId="{55F35D06-A742-40B3-905D-630CA9FDEC31}" srcOrd="0" destOrd="0" presId="urn:microsoft.com/office/officeart/2005/8/layout/vList3#2"/>
    <dgm:cxn modelId="{2A376FD2-5571-454A-B396-19450B585DAB}" type="presParOf" srcId="{84F646AF-A60B-4922-A007-72933E00B3EE}" destId="{AB704C5C-019B-4969-BA25-8A80AB184AE6}" srcOrd="1" destOrd="0" presId="urn:microsoft.com/office/officeart/2005/8/layout/vList3#2"/>
    <dgm:cxn modelId="{56DB9D95-FFB3-4C37-B408-6AC570DB6877}" type="presParOf" srcId="{87058BDE-5535-4089-A0AA-1234D7F9F1C3}" destId="{FDCB60ED-F3B6-4ADB-95B5-0AFF82A27DEA}" srcOrd="17" destOrd="0" presId="urn:microsoft.com/office/officeart/2005/8/layout/vList3#2"/>
    <dgm:cxn modelId="{EC5F7063-9466-4543-9DF3-BADE78F2DD92}" type="presParOf" srcId="{87058BDE-5535-4089-A0AA-1234D7F9F1C3}" destId="{3C14BCCC-CBBF-49C4-918F-E6BC9EFB87BF}" srcOrd="18" destOrd="0" presId="urn:microsoft.com/office/officeart/2005/8/layout/vList3#2"/>
    <dgm:cxn modelId="{C763E378-E6ED-4069-B3CB-C6B6229BCA39}" type="presParOf" srcId="{3C14BCCC-CBBF-49C4-918F-E6BC9EFB87BF}" destId="{A7C2C960-C0B9-43E7-BA9A-FD9E69A85922}" srcOrd="0" destOrd="0" presId="urn:microsoft.com/office/officeart/2005/8/layout/vList3#2"/>
    <dgm:cxn modelId="{557EA4FE-6566-49A8-8B54-DFE1318C9650}" type="presParOf" srcId="{3C14BCCC-CBBF-49C4-918F-E6BC9EFB87BF}" destId="{7E3F92AB-2155-4B12-B1C1-19C5EC08C7CF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3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Malaysia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Turkey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/>
        </a:p>
      </dgm:t>
    </dgm:pt>
    <dgm:pt modelId="{36D35940-303C-4DF1-9272-AF9082E4AFE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France</a:t>
          </a:r>
          <a:endParaRPr lang="pt-BR" sz="1100" dirty="0"/>
        </a:p>
      </dgm:t>
    </dgm:pt>
    <dgm:pt modelId="{BA14E538-BCD5-4ACE-B74D-14F9120E2A8A}" type="parTrans" cxnId="{3B6361A5-C2E0-41C3-A5F6-A1F417EFAAFD}">
      <dgm:prSet/>
      <dgm:spPr/>
      <dgm:t>
        <a:bodyPr/>
        <a:lstStyle/>
        <a:p>
          <a:endParaRPr lang="pt-BR"/>
        </a:p>
      </dgm:t>
    </dgm:pt>
    <dgm:pt modelId="{E02E3F13-6252-43CF-AE56-87DC1197EE40}" type="sibTrans" cxnId="{3B6361A5-C2E0-41C3-A5F6-A1F417EFAAFD}">
      <dgm:prSet/>
      <dgm:spPr/>
      <dgm:t>
        <a:bodyPr/>
        <a:lstStyle/>
        <a:p>
          <a:endParaRPr lang="pt-BR"/>
        </a:p>
      </dgm:t>
    </dgm:pt>
    <dgm:pt modelId="{4E87D639-FA2B-4064-A2CF-50F7C0EEF4EE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Vietnam</a:t>
          </a:r>
          <a:endParaRPr lang="pt-BR" dirty="0"/>
        </a:p>
      </dgm:t>
    </dgm:pt>
    <dgm:pt modelId="{9719636B-E411-4503-85C4-2C038B4FBAB0}" type="parTrans" cxnId="{8E1B3341-A79E-4691-A1A9-84D18E66A446}">
      <dgm:prSet/>
      <dgm:spPr/>
      <dgm:t>
        <a:bodyPr/>
        <a:lstStyle/>
        <a:p>
          <a:endParaRPr lang="en-US"/>
        </a:p>
      </dgm:t>
    </dgm:pt>
    <dgm:pt modelId="{5E98FC36-D43C-41E5-856D-8AF0E0D2C322}" type="sibTrans" cxnId="{8E1B3341-A79E-4691-A1A9-84D18E66A446}">
      <dgm:prSet/>
      <dgm:spPr/>
      <dgm:t>
        <a:bodyPr/>
        <a:lstStyle/>
        <a:p>
          <a:endParaRPr lang="en-US"/>
        </a:p>
      </dgm:t>
    </dgm:pt>
    <dgm:pt modelId="{3549E76C-06B9-4DC8-AEF6-50ED3CFFEFE5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UAE</a:t>
          </a:r>
          <a:endParaRPr lang="pt-BR" dirty="0"/>
        </a:p>
      </dgm:t>
    </dgm:pt>
    <dgm:pt modelId="{3AFD5841-FD1A-457D-BD16-E0EB19EDF641}" type="parTrans" cxnId="{124097E7-8FC5-4FC8-93D8-7CB1C1E94C1C}">
      <dgm:prSet/>
      <dgm:spPr/>
      <dgm:t>
        <a:bodyPr/>
        <a:lstStyle/>
        <a:p>
          <a:endParaRPr lang="en-US"/>
        </a:p>
      </dgm:t>
    </dgm:pt>
    <dgm:pt modelId="{A9D1B477-F530-45C3-82D9-CFD629ABA60B}" type="sibTrans" cxnId="{124097E7-8FC5-4FC8-93D8-7CB1C1E94C1C}">
      <dgm:prSet/>
      <dgm:spPr/>
      <dgm:t>
        <a:bodyPr/>
        <a:lstStyle/>
        <a:p>
          <a:endParaRPr lang="en-US"/>
        </a:p>
      </dgm:t>
    </dgm:pt>
    <dgm:pt modelId="{7B377626-8DAF-4C1C-8F4D-18F19C8C5449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Hong Kong</a:t>
          </a:r>
          <a:endParaRPr lang="pt-BR" dirty="0"/>
        </a:p>
      </dgm:t>
    </dgm:pt>
    <dgm:pt modelId="{3DA1D09C-B107-4C3E-A7E0-5A65C7F4A4E0}" type="parTrans" cxnId="{CDCEE5A3-9AC8-4184-ACC4-4BD4D00AD41A}">
      <dgm:prSet/>
      <dgm:spPr/>
      <dgm:t>
        <a:bodyPr/>
        <a:lstStyle/>
        <a:p>
          <a:endParaRPr lang="en-US"/>
        </a:p>
      </dgm:t>
    </dgm:pt>
    <dgm:pt modelId="{0D81009C-74C8-4AA2-B333-62908C3F027C}" type="sibTrans" cxnId="{CDCEE5A3-9AC8-4184-ACC4-4BD4D00AD41A}">
      <dgm:prSet/>
      <dgm:spPr/>
      <dgm:t>
        <a:bodyPr/>
        <a:lstStyle/>
        <a:p>
          <a:endParaRPr lang="en-US"/>
        </a:p>
      </dgm:t>
    </dgm:pt>
    <dgm:pt modelId="{C6027666-9170-474C-8283-5FDCC7CF0101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UK</a:t>
          </a:r>
          <a:endParaRPr lang="pt-BR" dirty="0"/>
        </a:p>
      </dgm:t>
    </dgm:pt>
    <dgm:pt modelId="{E88229B6-5EDF-4F1F-8711-4DC26D36C326}" type="parTrans" cxnId="{5BEC9C6D-1A74-4B41-ACBB-590F88100172}">
      <dgm:prSet/>
      <dgm:spPr/>
      <dgm:t>
        <a:bodyPr/>
        <a:lstStyle/>
        <a:p>
          <a:endParaRPr lang="en-US"/>
        </a:p>
      </dgm:t>
    </dgm:pt>
    <dgm:pt modelId="{60B774D1-3EC7-473E-8187-22FF1719D130}" type="sibTrans" cxnId="{5BEC9C6D-1A74-4B41-ACBB-590F88100172}">
      <dgm:prSet/>
      <dgm:spPr/>
      <dgm:t>
        <a:bodyPr/>
        <a:lstStyle/>
        <a:p>
          <a:endParaRPr lang="en-US"/>
        </a:p>
      </dgm:t>
    </dgm:pt>
    <dgm:pt modelId="{EF376B3D-4CD5-4F00-ADAE-44A377AF8BDC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Spain</a:t>
          </a:r>
          <a:endParaRPr lang="pt-BR" dirty="0"/>
        </a:p>
      </dgm:t>
    </dgm:pt>
    <dgm:pt modelId="{17E8FE0E-A8BD-4834-8F23-0B40525B8486}" type="parTrans" cxnId="{7E3FFEE6-B9EF-4740-A93B-DD1AA84ABD1B}">
      <dgm:prSet/>
      <dgm:spPr/>
      <dgm:t>
        <a:bodyPr/>
        <a:lstStyle/>
        <a:p>
          <a:endParaRPr lang="en-US"/>
        </a:p>
      </dgm:t>
    </dgm:pt>
    <dgm:pt modelId="{E006F517-8ED1-4867-AC23-CE6F3D964B28}" type="sibTrans" cxnId="{7E3FFEE6-B9EF-4740-A93B-DD1AA84ABD1B}">
      <dgm:prSet/>
      <dgm:spPr/>
      <dgm:t>
        <a:bodyPr/>
        <a:lstStyle/>
        <a:p>
          <a:endParaRPr lang="en-US"/>
        </a:p>
      </dgm:t>
    </dgm:pt>
    <dgm:pt modelId="{1D40C135-27C5-42D9-97E8-A054BE863780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South Africa</a:t>
          </a:r>
          <a:endParaRPr lang="pt-BR" dirty="0"/>
        </a:p>
      </dgm:t>
    </dgm:pt>
    <dgm:pt modelId="{608327E4-A259-41DE-9D6A-6CF50CDF8C43}" type="parTrans" cxnId="{AC7AEA84-40BC-494D-B277-900953358F0F}">
      <dgm:prSet/>
      <dgm:spPr/>
      <dgm:t>
        <a:bodyPr/>
        <a:lstStyle/>
        <a:p>
          <a:endParaRPr lang="en-US"/>
        </a:p>
      </dgm:t>
    </dgm:pt>
    <dgm:pt modelId="{92D9C366-1F59-413C-9098-B851BD63BE61}" type="sibTrans" cxnId="{AC7AEA84-40BC-494D-B277-900953358F0F}">
      <dgm:prSet/>
      <dgm:spPr/>
      <dgm:t>
        <a:bodyPr/>
        <a:lstStyle/>
        <a:p>
          <a:endParaRPr lang="en-US"/>
        </a:p>
      </dgm:t>
    </dgm:pt>
    <dgm:pt modelId="{62269D94-DBA7-4330-905A-A9BB2E556A04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Canada</a:t>
          </a:r>
          <a:endParaRPr lang="pt-BR" dirty="0"/>
        </a:p>
      </dgm:t>
    </dgm:pt>
    <dgm:pt modelId="{D49C4047-5B76-4550-8B1F-1B411F5FE75F}" type="parTrans" cxnId="{271DE609-B032-45F9-AC4E-7C1FD8E846F1}">
      <dgm:prSet/>
      <dgm:spPr/>
      <dgm:t>
        <a:bodyPr/>
        <a:lstStyle/>
        <a:p>
          <a:endParaRPr lang="en-US"/>
        </a:p>
      </dgm:t>
    </dgm:pt>
    <dgm:pt modelId="{0EB3BEC3-3182-406E-AA51-1551EED2315D}" type="sibTrans" cxnId="{271DE609-B032-45F9-AC4E-7C1FD8E846F1}">
      <dgm:prSet/>
      <dgm:spPr/>
      <dgm:t>
        <a:bodyPr/>
        <a:lstStyle/>
        <a:p>
          <a:endParaRPr lang="en-US"/>
        </a:p>
      </dgm:t>
    </dgm:pt>
    <dgm:pt modelId="{4CB7D75A-8C2E-4417-867D-8401B8546FBB}">
      <dgm:prSet phldrT="[Text]"/>
      <dgm:spPr>
        <a:solidFill>
          <a:srgbClr val="0060A8"/>
        </a:solidFill>
      </dgm:spPr>
      <dgm:t>
        <a:bodyPr lIns="468000" rIns="64800"/>
        <a:lstStyle/>
        <a:p>
          <a:r>
            <a:rPr lang="pt-BR" dirty="0" smtClean="0"/>
            <a:t>Indonesia</a:t>
          </a:r>
          <a:endParaRPr lang="pt-BR" dirty="0"/>
        </a:p>
      </dgm:t>
    </dgm:pt>
    <dgm:pt modelId="{E87C4CCC-E2C8-4AAC-A747-1844E3260FB8}" type="parTrans" cxnId="{59E06CE4-DB7F-4B47-ADEE-E0478978F0D1}">
      <dgm:prSet/>
      <dgm:spPr/>
      <dgm:t>
        <a:bodyPr/>
        <a:lstStyle/>
        <a:p>
          <a:endParaRPr lang="pt-BR"/>
        </a:p>
      </dgm:t>
    </dgm:pt>
    <dgm:pt modelId="{9FB16E59-E6A3-4863-A62F-314F6FB38C9F}" type="sibTrans" cxnId="{59E06CE4-DB7F-4B47-ADEE-E0478978F0D1}">
      <dgm:prSet/>
      <dgm:spPr/>
      <dgm:t>
        <a:bodyPr/>
        <a:lstStyle/>
        <a:p>
          <a:endParaRPr lang="pt-BR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5F41E59-416F-49A7-969E-D498CC9576D8}" type="pres">
      <dgm:prSet presAssocID="{EF376B3D-4CD5-4F00-ADAE-44A377AF8BDC}" presName="composite" presStyleCnt="0"/>
      <dgm:spPr/>
    </dgm:pt>
    <dgm:pt modelId="{BECFFFE8-028C-4499-B3D1-C548DF20E572}" type="pres">
      <dgm:prSet presAssocID="{EF376B3D-4CD5-4F00-ADAE-44A377AF8BDC}" presName="imgShp" presStyleLbl="fgImgPlace1" presStyleIdx="0" presStyleCnt="11" custScaleX="67842" custScaleY="72863" custLinFactY="10819" custLinFactNeighborX="8406" custLinFactNeighborY="100000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A84FEE1-664E-4D75-B6AA-53639F02652C}" type="pres">
      <dgm:prSet presAssocID="{EF376B3D-4CD5-4F00-ADAE-44A377AF8BDC}" presName="txShp" presStyleLbl="node1" presStyleIdx="0" presStyleCnt="11" custScaleX="118966" custScaleY="71073" custLinFactY="9924" custLinFactNeighborX="-220" custLinFactNeighborY="100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2BB3861F-BBA2-4BD3-8ADB-7F2A9D5C9292}" type="pres">
      <dgm:prSet presAssocID="{E006F517-8ED1-4867-AC23-CE6F3D964B28}" presName="spacing" presStyleCnt="0"/>
      <dgm:spPr/>
    </dgm:pt>
    <dgm:pt modelId="{9C783996-F775-494A-8820-06D0AFEEA46D}" type="pres">
      <dgm:prSet presAssocID="{4E87D639-FA2B-4064-A2CF-50F7C0EEF4EE}" presName="composite" presStyleCnt="0"/>
      <dgm:spPr/>
    </dgm:pt>
    <dgm:pt modelId="{B452B0F9-E06C-4FB0-963B-4E448EBCE119}" type="pres">
      <dgm:prSet presAssocID="{4E87D639-FA2B-4064-A2CF-50F7C0EEF4EE}" presName="imgShp" presStyleLbl="fgImgPlace1" presStyleIdx="1" presStyleCnt="11" custScaleX="67842" custScaleY="72863" custLinFactNeighborX="19017" custLinFactNeighborY="8851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9E0879E4-F4BE-46E9-B380-69303C1EDE30}" type="pres">
      <dgm:prSet presAssocID="{4E87D639-FA2B-4064-A2CF-50F7C0EEF4EE}" presName="txShp" presStyleLbl="node1" presStyleIdx="1" presStyleCnt="11" custScaleX="118966" custScaleY="71073" custLinFactNeighborY="8761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871A8F0E-11D9-4C0E-A1A8-0BCF25885B8D}" type="pres">
      <dgm:prSet presAssocID="{5E98FC36-D43C-41E5-856D-8AF0E0D2C322}" presName="spacing" presStyleCnt="0"/>
      <dgm:spPr/>
    </dgm:pt>
    <dgm:pt modelId="{20524B06-25D7-4A55-8C8B-775319960E34}" type="pres">
      <dgm:prSet presAssocID="{1D40C135-27C5-42D9-97E8-A054BE863780}" presName="composite" presStyleCnt="0"/>
      <dgm:spPr/>
    </dgm:pt>
    <dgm:pt modelId="{7AF2471A-E004-4A81-8656-B06FA7CAF7AD}" type="pres">
      <dgm:prSet presAssocID="{1D40C135-27C5-42D9-97E8-A054BE863780}" presName="imgShp" presStyleLbl="fgImgPlace1" presStyleIdx="2" presStyleCnt="11" custScaleX="67842" custScaleY="72863" custLinFactNeighborX="19017" custLinFactNeighborY="8851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48B96351-AC74-45EE-9624-D264EBD10D53}" type="pres">
      <dgm:prSet presAssocID="{1D40C135-27C5-42D9-97E8-A054BE863780}" presName="txShp" presStyleLbl="node1" presStyleIdx="2" presStyleCnt="11" custScaleX="118966" custScaleY="71073" custLinFactNeighborY="8761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ECB2A9BB-1E41-4883-A6FF-2F4B441E5419}" type="pres">
      <dgm:prSet presAssocID="{92D9C366-1F59-413C-9098-B851BD63BE61}" presName="spacing" presStyleCnt="0"/>
      <dgm:spPr/>
    </dgm:pt>
    <dgm:pt modelId="{D1D45C80-2FE4-4CCB-BCDB-6E9821FDD765}" type="pres">
      <dgm:prSet presAssocID="{3549E76C-06B9-4DC8-AEF6-50ED3CFFEFE5}" presName="composite" presStyleCnt="0"/>
      <dgm:spPr/>
    </dgm:pt>
    <dgm:pt modelId="{36036730-807F-4663-B860-6B6363C03BF1}" type="pres">
      <dgm:prSet presAssocID="{3549E76C-06B9-4DC8-AEF6-50ED3CFFEFE5}" presName="imgShp" presStyleLbl="fgImgPlace1" presStyleIdx="3" presStyleCnt="11" custScaleX="67842" custScaleY="72863" custLinFactY="65510" custLinFactNeighborX="19017" custLinFactNeighborY="100000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4EBAB5AE-F8CC-4895-BA48-0B677262887B}" type="pres">
      <dgm:prSet presAssocID="{3549E76C-06B9-4DC8-AEF6-50ED3CFFEFE5}" presName="txShp" presStyleLbl="node1" presStyleIdx="3" presStyleCnt="11" custScaleX="118966" custScaleY="71073" custLinFactY="61717" custLinFactNeighborY="100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D20EDB22-27F6-4EF6-999C-66C7092A7B2A}" type="pres">
      <dgm:prSet presAssocID="{A9D1B477-F530-45C3-82D9-CFD629ABA60B}" presName="spacing" presStyleCnt="0"/>
      <dgm:spPr/>
    </dgm:pt>
    <dgm:pt modelId="{21A0DAEC-8EE4-4E4D-B84C-02ADFAA2EDD8}" type="pres">
      <dgm:prSet presAssocID="{7B377626-8DAF-4C1C-8F4D-18F19C8C5449}" presName="composite" presStyleCnt="0"/>
      <dgm:spPr/>
    </dgm:pt>
    <dgm:pt modelId="{9223B983-F555-45B2-8F05-3C78F9FB92BA}" type="pres">
      <dgm:prSet presAssocID="{7B377626-8DAF-4C1C-8F4D-18F19C8C5449}" presName="imgShp" presStyleLbl="fgImgPlace1" presStyleIdx="4" presStyleCnt="11" custScaleX="67842" custScaleY="72863" custLinFactY="51562" custLinFactNeighborX="19017" custLinFactNeighborY="100000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en-US"/>
        </a:p>
      </dgm:t>
    </dgm:pt>
    <dgm:pt modelId="{60172DE9-C727-4F19-BEF8-2206656548D3}" type="pres">
      <dgm:prSet presAssocID="{7B377626-8DAF-4C1C-8F4D-18F19C8C5449}" presName="txShp" presStyleLbl="node1" presStyleIdx="4" presStyleCnt="11" custScaleX="118966" custScaleY="71073" custLinFactY="50667" custLinFactNeighborY="100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492B0A21-19B8-4A17-84D4-DBA8BEED4A8F}" type="pres">
      <dgm:prSet presAssocID="{0D81009C-74C8-4AA2-B333-62908C3F027C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5" presStyleCnt="11" custScaleX="67842" custScaleY="72863" custLinFactY="34736" custLinFactNeighborX="19017" custLinFactNeighborY="100000"/>
      <dgm:spPr>
        <a:blipFill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5" presStyleCnt="11" custScaleX="118966" custScaleY="71073" custLinFactY="33841" custLinFactNeighborY="100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6" presStyleCnt="11" custScaleX="67842" custScaleY="72863" custLinFactY="-100000" custLinFactNeighborX="17960" custLinFactNeighborY="-142428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6" presStyleCnt="11" custScaleX="118966" custScaleY="71073" custLinFactY="-100000" custLinFactNeighborX="-1260" custLinFactNeighborY="-137798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021ECEBE-A334-4342-A00F-133F51F25673}" type="pres">
      <dgm:prSet presAssocID="{C0181B45-3A77-4935-AC53-7F62631E5930}" presName="spacing" presStyleCnt="0"/>
      <dgm:spPr/>
    </dgm:pt>
    <dgm:pt modelId="{946817AB-5D09-4734-9C7B-0FD57B218871}" type="pres">
      <dgm:prSet presAssocID="{C6027666-9170-474C-8283-5FDCC7CF0101}" presName="composite" presStyleCnt="0"/>
      <dgm:spPr/>
    </dgm:pt>
    <dgm:pt modelId="{CB3F50FB-BC09-4FF9-98A1-8A2966611E69}" type="pres">
      <dgm:prSet presAssocID="{C6027666-9170-474C-8283-5FDCC7CF0101}" presName="imgShp" presStyleLbl="fgImgPlace1" presStyleIdx="7" presStyleCnt="11" custScaleX="67842" custScaleY="72863" custLinFactNeighborX="19017" custLinFactNeighborY="11191"/>
      <dgm:spPr>
        <a:blipFill>
          <a:blip xmlns:r="http://schemas.openxmlformats.org/officeDocument/2006/relationships"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</dgm:spPr>
      <dgm:t>
        <a:bodyPr/>
        <a:lstStyle/>
        <a:p>
          <a:endParaRPr lang="en-US"/>
        </a:p>
      </dgm:t>
    </dgm:pt>
    <dgm:pt modelId="{07024022-AEBB-4CC1-8EB7-DF71C2AB504C}" type="pres">
      <dgm:prSet presAssocID="{C6027666-9170-474C-8283-5FDCC7CF0101}" presName="txShp" presStyleLbl="node1" presStyleIdx="7" presStyleCnt="11" custScaleX="118966" custScaleY="71073" custLinFactNeighborY="10296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E00C6BA2-30A4-4E0A-8F2E-4C79AF93461E}" type="pres">
      <dgm:prSet presAssocID="{60B774D1-3EC7-473E-8187-22FF1719D130}" presName="spacing" presStyleCnt="0"/>
      <dgm:spPr/>
    </dgm:pt>
    <dgm:pt modelId="{8D53612D-6F26-49FC-9972-2C05868A9944}" type="pres">
      <dgm:prSet presAssocID="{36D35940-303C-4DF1-9272-AF9082E4AFEA}" presName="composite" presStyleCnt="0"/>
      <dgm:spPr/>
    </dgm:pt>
    <dgm:pt modelId="{20A8C45F-2383-48EB-8FC2-A699C13C1C68}" type="pres">
      <dgm:prSet presAssocID="{36D35940-303C-4DF1-9272-AF9082E4AFEA}" presName="imgShp" presStyleLbl="fgImgPlace1" presStyleIdx="8" presStyleCnt="11" custScaleX="67842" custScaleY="72863" custLinFactNeighborX="19017" custLinFactNeighborY="9685"/>
      <dgm:spPr>
        <a:blipFill rotWithShape="1">
          <a:blip xmlns:r="http://schemas.openxmlformats.org/officeDocument/2006/relationships" r:embed="rId9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A001FFF7-5020-4280-B33F-27473DE5BC57}" type="pres">
      <dgm:prSet presAssocID="{36D35940-303C-4DF1-9272-AF9082E4AFEA}" presName="txShp" presStyleLbl="node1" presStyleIdx="8" presStyleCnt="11" custScaleX="118966" custScaleY="71073" custLinFactNeighborY="879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D1F7ED67-892A-4F6E-85BF-3A076B0C9BB7}" type="pres">
      <dgm:prSet presAssocID="{E02E3F13-6252-43CF-AE56-87DC1197EE40}" presName="spacing" presStyleCnt="0"/>
      <dgm:spPr/>
    </dgm:pt>
    <dgm:pt modelId="{402C4B8E-E07A-4621-ACEA-84AE86CB3FBF}" type="pres">
      <dgm:prSet presAssocID="{62269D94-DBA7-4330-905A-A9BB2E556A04}" presName="composite" presStyleCnt="0"/>
      <dgm:spPr/>
    </dgm:pt>
    <dgm:pt modelId="{DC06FD3C-FB73-490B-88CF-EFCF812B054D}" type="pres">
      <dgm:prSet presAssocID="{62269D94-DBA7-4330-905A-A9BB2E556A04}" presName="imgShp" presStyleLbl="fgImgPlace1" presStyleIdx="9" presStyleCnt="11" custScaleX="67842" custScaleY="72863" custLinFactNeighborX="19017" custLinFactNeighborY="9685"/>
      <dgm:spPr>
        <a:blipFill rotWithShape="0">
          <a:blip xmlns:r="http://schemas.openxmlformats.org/officeDocument/2006/relationships" r:embed="rId10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E0F45FD-E5D6-4F9E-9DB7-EDA99916D97B}" type="pres">
      <dgm:prSet presAssocID="{62269D94-DBA7-4330-905A-A9BB2E556A04}" presName="txShp" presStyleLbl="node1" presStyleIdx="9" presStyleCnt="11" custScaleX="118966" custScaleY="71073" custLinFactNeighborY="879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6C1E7023-EBC3-4D29-BA09-B4D5FBF04598}" type="pres">
      <dgm:prSet presAssocID="{0EB3BEC3-3182-406E-AA51-1551EED2315D}" presName="spacing" presStyleCnt="0"/>
      <dgm:spPr/>
    </dgm:pt>
    <dgm:pt modelId="{72874061-C7D5-4E08-9BF0-5709D4BBF61F}" type="pres">
      <dgm:prSet presAssocID="{4CB7D75A-8C2E-4417-867D-8401B8546FBB}" presName="composite" presStyleCnt="0"/>
      <dgm:spPr/>
    </dgm:pt>
    <dgm:pt modelId="{F10EAC5C-59B9-48DD-89A4-C949647FDAD9}" type="pres">
      <dgm:prSet presAssocID="{4CB7D75A-8C2E-4417-867D-8401B8546FBB}" presName="imgShp" presStyleLbl="fgImgPlace1" presStyleIdx="10" presStyleCnt="11" custScaleX="84072" custScaleY="74935" custLinFactNeighborX="15635"/>
      <dgm:spPr>
        <a:blipFill rotWithShape="1">
          <a:blip xmlns:r="http://schemas.openxmlformats.org/officeDocument/2006/relationships" r:embed="rId11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667351BB-0248-4E74-B1C5-A037F9ECF0CD}" type="pres">
      <dgm:prSet presAssocID="{4CB7D75A-8C2E-4417-867D-8401B8546FBB}" presName="txShp" presStyleLbl="node1" presStyleIdx="10" presStyleCnt="11" custScaleX="118966" custScaleY="71073" custLinFactNeighborY="879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</dgm:ptLst>
  <dgm:cxnLst>
    <dgm:cxn modelId="{AC7AEA84-40BC-494D-B277-900953358F0F}" srcId="{8424DC7B-61D0-4B32-9250-D2600E5E661F}" destId="{1D40C135-27C5-42D9-97E8-A054BE863780}" srcOrd="2" destOrd="0" parTransId="{608327E4-A259-41DE-9D6A-6CF50CDF8C43}" sibTransId="{92D9C366-1F59-413C-9098-B851BD63BE61}"/>
    <dgm:cxn modelId="{DAB4DD1A-C6A9-40C2-892E-C89F4D480695}" type="presOf" srcId="{1D40C135-27C5-42D9-97E8-A054BE863780}" destId="{48B96351-AC74-45EE-9624-D264EBD10D53}" srcOrd="0" destOrd="0" presId="urn:microsoft.com/office/officeart/2005/8/layout/vList3#3"/>
    <dgm:cxn modelId="{1BFB8F63-EC18-41B7-BAC7-49E78F95F39D}" type="presOf" srcId="{36D35940-303C-4DF1-9272-AF9082E4AFEA}" destId="{A001FFF7-5020-4280-B33F-27473DE5BC57}" srcOrd="0" destOrd="0" presId="urn:microsoft.com/office/officeart/2005/8/layout/vList3#3"/>
    <dgm:cxn modelId="{8E1B3341-A79E-4691-A1A9-84D18E66A446}" srcId="{8424DC7B-61D0-4B32-9250-D2600E5E661F}" destId="{4E87D639-FA2B-4064-A2CF-50F7C0EEF4EE}" srcOrd="1" destOrd="0" parTransId="{9719636B-E411-4503-85C4-2C038B4FBAB0}" sibTransId="{5E98FC36-D43C-41E5-856D-8AF0E0D2C322}"/>
    <dgm:cxn modelId="{30551780-CD76-4168-8911-A903C6258A63}" srcId="{8424DC7B-61D0-4B32-9250-D2600E5E661F}" destId="{C45CAB58-00D0-484A-BD5A-4E91A7FBCB76}" srcOrd="6" destOrd="0" parTransId="{1B29F30B-FE38-45AD-8084-7CEE50C87D82}" sibTransId="{C0181B45-3A77-4935-AC53-7F62631E5930}"/>
    <dgm:cxn modelId="{D9B9A0FA-FD29-4A96-A194-62E44C459847}" type="presOf" srcId="{3549E76C-06B9-4DC8-AEF6-50ED3CFFEFE5}" destId="{4EBAB5AE-F8CC-4895-BA48-0B677262887B}" srcOrd="0" destOrd="0" presId="urn:microsoft.com/office/officeart/2005/8/layout/vList3#3"/>
    <dgm:cxn modelId="{7E3FFEE6-B9EF-4740-A93B-DD1AA84ABD1B}" srcId="{8424DC7B-61D0-4B32-9250-D2600E5E661F}" destId="{EF376B3D-4CD5-4F00-ADAE-44A377AF8BDC}" srcOrd="0" destOrd="0" parTransId="{17E8FE0E-A8BD-4834-8F23-0B40525B8486}" sibTransId="{E006F517-8ED1-4867-AC23-CE6F3D964B28}"/>
    <dgm:cxn modelId="{53425EEE-AD3D-4A32-A4FF-CF639A87EB3F}" type="presOf" srcId="{EF376B3D-4CD5-4F00-ADAE-44A377AF8BDC}" destId="{5A84FEE1-664E-4D75-B6AA-53639F02652C}" srcOrd="0" destOrd="0" presId="urn:microsoft.com/office/officeart/2005/8/layout/vList3#3"/>
    <dgm:cxn modelId="{B43C4147-EC59-4AEA-9447-7DB30B1C3185}" type="presOf" srcId="{8424DC7B-61D0-4B32-9250-D2600E5E661F}" destId="{87058BDE-5535-4089-A0AA-1234D7F9F1C3}" srcOrd="0" destOrd="0" presId="urn:microsoft.com/office/officeart/2005/8/layout/vList3#3"/>
    <dgm:cxn modelId="{5BEC9C6D-1A74-4B41-ACBB-590F88100172}" srcId="{8424DC7B-61D0-4B32-9250-D2600E5E661F}" destId="{C6027666-9170-474C-8283-5FDCC7CF0101}" srcOrd="7" destOrd="0" parTransId="{E88229B6-5EDF-4F1F-8711-4DC26D36C326}" sibTransId="{60B774D1-3EC7-473E-8187-22FF1719D130}"/>
    <dgm:cxn modelId="{3B4542B3-F0D4-4E0E-8EA1-1C189C1010DA}" type="presOf" srcId="{C6027666-9170-474C-8283-5FDCC7CF0101}" destId="{07024022-AEBB-4CC1-8EB7-DF71C2AB504C}" srcOrd="0" destOrd="0" presId="urn:microsoft.com/office/officeart/2005/8/layout/vList3#3"/>
    <dgm:cxn modelId="{5BE809B4-4C8C-4DD3-96E3-BE3583EA852E}" type="presOf" srcId="{4CB7D75A-8C2E-4417-867D-8401B8546FBB}" destId="{667351BB-0248-4E74-B1C5-A037F9ECF0CD}" srcOrd="0" destOrd="0" presId="urn:microsoft.com/office/officeart/2005/8/layout/vList3#3"/>
    <dgm:cxn modelId="{271DE609-B032-45F9-AC4E-7C1FD8E846F1}" srcId="{8424DC7B-61D0-4B32-9250-D2600E5E661F}" destId="{62269D94-DBA7-4330-905A-A9BB2E556A04}" srcOrd="9" destOrd="0" parTransId="{D49C4047-5B76-4550-8B1F-1B411F5FE75F}" sibTransId="{0EB3BEC3-3182-406E-AA51-1551EED2315D}"/>
    <dgm:cxn modelId="{68D6B045-F5D9-44ED-8AE3-32F8D2ED83D4}" type="presOf" srcId="{7B377626-8DAF-4C1C-8F4D-18F19C8C5449}" destId="{60172DE9-C727-4F19-BEF8-2206656548D3}" srcOrd="0" destOrd="0" presId="urn:microsoft.com/office/officeart/2005/8/layout/vList3#3"/>
    <dgm:cxn modelId="{78604B07-14CB-4ECE-A6F3-F1AD1567E862}" type="presOf" srcId="{5448CEB9-8650-438E-8FB3-C42D0EB69ACA}" destId="{8AB5F03D-5127-4B4F-8781-66AA1653AB7E}" srcOrd="0" destOrd="0" presId="urn:microsoft.com/office/officeart/2005/8/layout/vList3#3"/>
    <dgm:cxn modelId="{DFE17465-2311-4420-B2B7-B4F2172261DD}" srcId="{8424DC7B-61D0-4B32-9250-D2600E5E661F}" destId="{5448CEB9-8650-438E-8FB3-C42D0EB69ACA}" srcOrd="5" destOrd="0" parTransId="{16A69258-7DEA-4922-9BF4-EE42C4975625}" sibTransId="{00E2C79A-ED8B-4AC0-AC58-AE040DA88948}"/>
    <dgm:cxn modelId="{76D8323B-813A-4172-8199-F23B9AE10585}" type="presOf" srcId="{62269D94-DBA7-4330-905A-A9BB2E556A04}" destId="{FE0F45FD-E5D6-4F9E-9DB7-EDA99916D97B}" srcOrd="0" destOrd="0" presId="urn:microsoft.com/office/officeart/2005/8/layout/vList3#3"/>
    <dgm:cxn modelId="{5393AE56-F131-4FED-B299-197ADAA2A00A}" type="presOf" srcId="{4E87D639-FA2B-4064-A2CF-50F7C0EEF4EE}" destId="{9E0879E4-F4BE-46E9-B380-69303C1EDE30}" srcOrd="0" destOrd="0" presId="urn:microsoft.com/office/officeart/2005/8/layout/vList3#3"/>
    <dgm:cxn modelId="{CDCEE5A3-9AC8-4184-ACC4-4BD4D00AD41A}" srcId="{8424DC7B-61D0-4B32-9250-D2600E5E661F}" destId="{7B377626-8DAF-4C1C-8F4D-18F19C8C5449}" srcOrd="4" destOrd="0" parTransId="{3DA1D09C-B107-4C3E-A7E0-5A65C7F4A4E0}" sibTransId="{0D81009C-74C8-4AA2-B333-62908C3F027C}"/>
    <dgm:cxn modelId="{344F2895-DCC0-4C0A-ABE2-ED8294D2E10A}" type="presOf" srcId="{C45CAB58-00D0-484A-BD5A-4E91A7FBCB76}" destId="{F5A9A23F-C721-4779-BD70-16DAAFF968E9}" srcOrd="0" destOrd="0" presId="urn:microsoft.com/office/officeart/2005/8/layout/vList3#3"/>
    <dgm:cxn modelId="{124097E7-8FC5-4FC8-93D8-7CB1C1E94C1C}" srcId="{8424DC7B-61D0-4B32-9250-D2600E5E661F}" destId="{3549E76C-06B9-4DC8-AEF6-50ED3CFFEFE5}" srcOrd="3" destOrd="0" parTransId="{3AFD5841-FD1A-457D-BD16-E0EB19EDF641}" sibTransId="{A9D1B477-F530-45C3-82D9-CFD629ABA60B}"/>
    <dgm:cxn modelId="{59E06CE4-DB7F-4B47-ADEE-E0478978F0D1}" srcId="{8424DC7B-61D0-4B32-9250-D2600E5E661F}" destId="{4CB7D75A-8C2E-4417-867D-8401B8546FBB}" srcOrd="10" destOrd="0" parTransId="{E87C4CCC-E2C8-4AAC-A747-1844E3260FB8}" sibTransId="{9FB16E59-E6A3-4863-A62F-314F6FB38C9F}"/>
    <dgm:cxn modelId="{3B6361A5-C2E0-41C3-A5F6-A1F417EFAAFD}" srcId="{8424DC7B-61D0-4B32-9250-D2600E5E661F}" destId="{36D35940-303C-4DF1-9272-AF9082E4AFEA}" srcOrd="8" destOrd="0" parTransId="{BA14E538-BCD5-4ACE-B74D-14F9120E2A8A}" sibTransId="{E02E3F13-6252-43CF-AE56-87DC1197EE40}"/>
    <dgm:cxn modelId="{F8807BCF-7715-4937-8056-3A12104C82F1}" type="presParOf" srcId="{87058BDE-5535-4089-A0AA-1234D7F9F1C3}" destId="{A5F41E59-416F-49A7-969E-D498CC9576D8}" srcOrd="0" destOrd="0" presId="urn:microsoft.com/office/officeart/2005/8/layout/vList3#3"/>
    <dgm:cxn modelId="{20A1C6DB-1ACC-4638-895B-CDBDA84D4A0E}" type="presParOf" srcId="{A5F41E59-416F-49A7-969E-D498CC9576D8}" destId="{BECFFFE8-028C-4499-B3D1-C548DF20E572}" srcOrd="0" destOrd="0" presId="urn:microsoft.com/office/officeart/2005/8/layout/vList3#3"/>
    <dgm:cxn modelId="{2BFB6FE8-62BF-4D59-8483-2E815FDA08F9}" type="presParOf" srcId="{A5F41E59-416F-49A7-969E-D498CC9576D8}" destId="{5A84FEE1-664E-4D75-B6AA-53639F02652C}" srcOrd="1" destOrd="0" presId="urn:microsoft.com/office/officeart/2005/8/layout/vList3#3"/>
    <dgm:cxn modelId="{5A74C647-32F8-4124-96A0-82B0501B2185}" type="presParOf" srcId="{87058BDE-5535-4089-A0AA-1234D7F9F1C3}" destId="{2BB3861F-BBA2-4BD3-8ADB-7F2A9D5C9292}" srcOrd="1" destOrd="0" presId="urn:microsoft.com/office/officeart/2005/8/layout/vList3#3"/>
    <dgm:cxn modelId="{61C592E2-D27D-48A9-B19B-74650238E5EE}" type="presParOf" srcId="{87058BDE-5535-4089-A0AA-1234D7F9F1C3}" destId="{9C783996-F775-494A-8820-06D0AFEEA46D}" srcOrd="2" destOrd="0" presId="urn:microsoft.com/office/officeart/2005/8/layout/vList3#3"/>
    <dgm:cxn modelId="{E0218F8A-1EC6-4F7E-88D4-BDDBC556A72D}" type="presParOf" srcId="{9C783996-F775-494A-8820-06D0AFEEA46D}" destId="{B452B0F9-E06C-4FB0-963B-4E448EBCE119}" srcOrd="0" destOrd="0" presId="urn:microsoft.com/office/officeart/2005/8/layout/vList3#3"/>
    <dgm:cxn modelId="{DC80BDF5-4821-47D5-8750-768E461816A4}" type="presParOf" srcId="{9C783996-F775-494A-8820-06D0AFEEA46D}" destId="{9E0879E4-F4BE-46E9-B380-69303C1EDE30}" srcOrd="1" destOrd="0" presId="urn:microsoft.com/office/officeart/2005/8/layout/vList3#3"/>
    <dgm:cxn modelId="{F49680CB-EC8A-4190-BCA6-ECFE7B1E271C}" type="presParOf" srcId="{87058BDE-5535-4089-A0AA-1234D7F9F1C3}" destId="{871A8F0E-11D9-4C0E-A1A8-0BCF25885B8D}" srcOrd="3" destOrd="0" presId="urn:microsoft.com/office/officeart/2005/8/layout/vList3#3"/>
    <dgm:cxn modelId="{5ED3C05E-E1FB-4581-B1E8-BEDE60A75AF2}" type="presParOf" srcId="{87058BDE-5535-4089-A0AA-1234D7F9F1C3}" destId="{20524B06-25D7-4A55-8C8B-775319960E34}" srcOrd="4" destOrd="0" presId="urn:microsoft.com/office/officeart/2005/8/layout/vList3#3"/>
    <dgm:cxn modelId="{26DA5C68-D7F5-4C3C-A415-079BBB55120F}" type="presParOf" srcId="{20524B06-25D7-4A55-8C8B-775319960E34}" destId="{7AF2471A-E004-4A81-8656-B06FA7CAF7AD}" srcOrd="0" destOrd="0" presId="urn:microsoft.com/office/officeart/2005/8/layout/vList3#3"/>
    <dgm:cxn modelId="{7C127694-78EF-4BAA-B3F9-579C1F812E23}" type="presParOf" srcId="{20524B06-25D7-4A55-8C8B-775319960E34}" destId="{48B96351-AC74-45EE-9624-D264EBD10D53}" srcOrd="1" destOrd="0" presId="urn:microsoft.com/office/officeart/2005/8/layout/vList3#3"/>
    <dgm:cxn modelId="{CFC3EEB4-EDAA-4E3C-B64B-0DE33AB53E73}" type="presParOf" srcId="{87058BDE-5535-4089-A0AA-1234D7F9F1C3}" destId="{ECB2A9BB-1E41-4883-A6FF-2F4B441E5419}" srcOrd="5" destOrd="0" presId="urn:microsoft.com/office/officeart/2005/8/layout/vList3#3"/>
    <dgm:cxn modelId="{0BE16535-D2CC-4EBB-9D1B-360CF501D3B4}" type="presParOf" srcId="{87058BDE-5535-4089-A0AA-1234D7F9F1C3}" destId="{D1D45C80-2FE4-4CCB-BCDB-6E9821FDD765}" srcOrd="6" destOrd="0" presId="urn:microsoft.com/office/officeart/2005/8/layout/vList3#3"/>
    <dgm:cxn modelId="{1450F4DD-0B2B-4C2F-A455-D8DB6B9C79BC}" type="presParOf" srcId="{D1D45C80-2FE4-4CCB-BCDB-6E9821FDD765}" destId="{36036730-807F-4663-B860-6B6363C03BF1}" srcOrd="0" destOrd="0" presId="urn:microsoft.com/office/officeart/2005/8/layout/vList3#3"/>
    <dgm:cxn modelId="{01203588-3B75-4D5D-8BE0-812106C7396C}" type="presParOf" srcId="{D1D45C80-2FE4-4CCB-BCDB-6E9821FDD765}" destId="{4EBAB5AE-F8CC-4895-BA48-0B677262887B}" srcOrd="1" destOrd="0" presId="urn:microsoft.com/office/officeart/2005/8/layout/vList3#3"/>
    <dgm:cxn modelId="{AD0E7477-1846-4D86-93C8-22E12248829C}" type="presParOf" srcId="{87058BDE-5535-4089-A0AA-1234D7F9F1C3}" destId="{D20EDB22-27F6-4EF6-999C-66C7092A7B2A}" srcOrd="7" destOrd="0" presId="urn:microsoft.com/office/officeart/2005/8/layout/vList3#3"/>
    <dgm:cxn modelId="{BBF1B93C-AAF2-4034-8E9D-44A3825C7FDD}" type="presParOf" srcId="{87058BDE-5535-4089-A0AA-1234D7F9F1C3}" destId="{21A0DAEC-8EE4-4E4D-B84C-02ADFAA2EDD8}" srcOrd="8" destOrd="0" presId="urn:microsoft.com/office/officeart/2005/8/layout/vList3#3"/>
    <dgm:cxn modelId="{6EDC6130-BA2C-4B64-A341-F9FD67409868}" type="presParOf" srcId="{21A0DAEC-8EE4-4E4D-B84C-02ADFAA2EDD8}" destId="{9223B983-F555-45B2-8F05-3C78F9FB92BA}" srcOrd="0" destOrd="0" presId="urn:microsoft.com/office/officeart/2005/8/layout/vList3#3"/>
    <dgm:cxn modelId="{D7A6BCBE-4335-4FAA-8475-FC8CF9BFE678}" type="presParOf" srcId="{21A0DAEC-8EE4-4E4D-B84C-02ADFAA2EDD8}" destId="{60172DE9-C727-4F19-BEF8-2206656548D3}" srcOrd="1" destOrd="0" presId="urn:microsoft.com/office/officeart/2005/8/layout/vList3#3"/>
    <dgm:cxn modelId="{2058D2DD-57AF-4B2B-AF1D-36BA22954D48}" type="presParOf" srcId="{87058BDE-5535-4089-A0AA-1234D7F9F1C3}" destId="{492B0A21-19B8-4A17-84D4-DBA8BEED4A8F}" srcOrd="9" destOrd="0" presId="urn:microsoft.com/office/officeart/2005/8/layout/vList3#3"/>
    <dgm:cxn modelId="{35266881-D493-4630-8BD9-44ABE3DF74D0}" type="presParOf" srcId="{87058BDE-5535-4089-A0AA-1234D7F9F1C3}" destId="{DD1EC1FE-424B-476D-A119-77F04D0CD370}" srcOrd="10" destOrd="0" presId="urn:microsoft.com/office/officeart/2005/8/layout/vList3#3"/>
    <dgm:cxn modelId="{C8347780-279A-478B-92E7-F2A7A111F1B6}" type="presParOf" srcId="{DD1EC1FE-424B-476D-A119-77F04D0CD370}" destId="{3376CF8E-261A-4906-A83E-CC3CB1AA16F1}" srcOrd="0" destOrd="0" presId="urn:microsoft.com/office/officeart/2005/8/layout/vList3#3"/>
    <dgm:cxn modelId="{6E2F91CA-7274-40CB-843E-CA14ED1EDE03}" type="presParOf" srcId="{DD1EC1FE-424B-476D-A119-77F04D0CD370}" destId="{8AB5F03D-5127-4B4F-8781-66AA1653AB7E}" srcOrd="1" destOrd="0" presId="urn:microsoft.com/office/officeart/2005/8/layout/vList3#3"/>
    <dgm:cxn modelId="{1486B8A4-F13A-4EE7-9F07-B79A3444027E}" type="presParOf" srcId="{87058BDE-5535-4089-A0AA-1234D7F9F1C3}" destId="{963671C7-9FC0-460F-9EE7-9EC05E2546EC}" srcOrd="11" destOrd="0" presId="urn:microsoft.com/office/officeart/2005/8/layout/vList3#3"/>
    <dgm:cxn modelId="{49678E85-CE9F-4529-9B80-78500B49AA80}" type="presParOf" srcId="{87058BDE-5535-4089-A0AA-1234D7F9F1C3}" destId="{3E3E218C-9F8A-4DD2-A6B4-497CC7EDB507}" srcOrd="12" destOrd="0" presId="urn:microsoft.com/office/officeart/2005/8/layout/vList3#3"/>
    <dgm:cxn modelId="{803D8D6B-9828-4F17-B8EC-366795D51FB1}" type="presParOf" srcId="{3E3E218C-9F8A-4DD2-A6B4-497CC7EDB507}" destId="{472A3E97-5AC7-4093-8C5C-CC4F5B343949}" srcOrd="0" destOrd="0" presId="urn:microsoft.com/office/officeart/2005/8/layout/vList3#3"/>
    <dgm:cxn modelId="{25A5683C-248A-438C-9044-B082B2E97501}" type="presParOf" srcId="{3E3E218C-9F8A-4DD2-A6B4-497CC7EDB507}" destId="{F5A9A23F-C721-4779-BD70-16DAAFF968E9}" srcOrd="1" destOrd="0" presId="urn:microsoft.com/office/officeart/2005/8/layout/vList3#3"/>
    <dgm:cxn modelId="{1A87501C-CF06-483A-91F8-589D1B6660A7}" type="presParOf" srcId="{87058BDE-5535-4089-A0AA-1234D7F9F1C3}" destId="{021ECEBE-A334-4342-A00F-133F51F25673}" srcOrd="13" destOrd="0" presId="urn:microsoft.com/office/officeart/2005/8/layout/vList3#3"/>
    <dgm:cxn modelId="{BE26F714-061E-4E4B-BABB-873210AD29D6}" type="presParOf" srcId="{87058BDE-5535-4089-A0AA-1234D7F9F1C3}" destId="{946817AB-5D09-4734-9C7B-0FD57B218871}" srcOrd="14" destOrd="0" presId="urn:microsoft.com/office/officeart/2005/8/layout/vList3#3"/>
    <dgm:cxn modelId="{48906218-4896-46C6-BCC9-7A82409760A2}" type="presParOf" srcId="{946817AB-5D09-4734-9C7B-0FD57B218871}" destId="{CB3F50FB-BC09-4FF9-98A1-8A2966611E69}" srcOrd="0" destOrd="0" presId="urn:microsoft.com/office/officeart/2005/8/layout/vList3#3"/>
    <dgm:cxn modelId="{AFB12288-BD28-4587-B40F-7E8BAF6625C3}" type="presParOf" srcId="{946817AB-5D09-4734-9C7B-0FD57B218871}" destId="{07024022-AEBB-4CC1-8EB7-DF71C2AB504C}" srcOrd="1" destOrd="0" presId="urn:microsoft.com/office/officeart/2005/8/layout/vList3#3"/>
    <dgm:cxn modelId="{AE306A5D-05F3-41C4-ADAC-E79CEF934205}" type="presParOf" srcId="{87058BDE-5535-4089-A0AA-1234D7F9F1C3}" destId="{E00C6BA2-30A4-4E0A-8F2E-4C79AF93461E}" srcOrd="15" destOrd="0" presId="urn:microsoft.com/office/officeart/2005/8/layout/vList3#3"/>
    <dgm:cxn modelId="{78C59181-58B7-4E16-9369-FE4B9B22E8A3}" type="presParOf" srcId="{87058BDE-5535-4089-A0AA-1234D7F9F1C3}" destId="{8D53612D-6F26-49FC-9972-2C05868A9944}" srcOrd="16" destOrd="0" presId="urn:microsoft.com/office/officeart/2005/8/layout/vList3#3"/>
    <dgm:cxn modelId="{CF3C7639-A1BD-4BED-8112-3A8034A54C7A}" type="presParOf" srcId="{8D53612D-6F26-49FC-9972-2C05868A9944}" destId="{20A8C45F-2383-48EB-8FC2-A699C13C1C68}" srcOrd="0" destOrd="0" presId="urn:microsoft.com/office/officeart/2005/8/layout/vList3#3"/>
    <dgm:cxn modelId="{5345F40D-F91B-4A70-9444-3431558FF6AD}" type="presParOf" srcId="{8D53612D-6F26-49FC-9972-2C05868A9944}" destId="{A001FFF7-5020-4280-B33F-27473DE5BC57}" srcOrd="1" destOrd="0" presId="urn:microsoft.com/office/officeart/2005/8/layout/vList3#3"/>
    <dgm:cxn modelId="{A7B737B9-3FB5-49B7-9F64-D4C88B06637C}" type="presParOf" srcId="{87058BDE-5535-4089-A0AA-1234D7F9F1C3}" destId="{D1F7ED67-892A-4F6E-85BF-3A076B0C9BB7}" srcOrd="17" destOrd="0" presId="urn:microsoft.com/office/officeart/2005/8/layout/vList3#3"/>
    <dgm:cxn modelId="{42958D17-1FA0-4E3E-8EE4-F8251027D0CA}" type="presParOf" srcId="{87058BDE-5535-4089-A0AA-1234D7F9F1C3}" destId="{402C4B8E-E07A-4621-ACEA-84AE86CB3FBF}" srcOrd="18" destOrd="0" presId="urn:microsoft.com/office/officeart/2005/8/layout/vList3#3"/>
    <dgm:cxn modelId="{AEE15F7E-20F1-4863-9024-9E5B9DF37CE5}" type="presParOf" srcId="{402C4B8E-E07A-4621-ACEA-84AE86CB3FBF}" destId="{DC06FD3C-FB73-490B-88CF-EFCF812B054D}" srcOrd="0" destOrd="0" presId="urn:microsoft.com/office/officeart/2005/8/layout/vList3#3"/>
    <dgm:cxn modelId="{F28DCE9B-9F93-4DB6-BFDE-CC01BCCC4661}" type="presParOf" srcId="{402C4B8E-E07A-4621-ACEA-84AE86CB3FBF}" destId="{FE0F45FD-E5D6-4F9E-9DB7-EDA99916D97B}" srcOrd="1" destOrd="0" presId="urn:microsoft.com/office/officeart/2005/8/layout/vList3#3"/>
    <dgm:cxn modelId="{0A028B02-6BE5-48AA-B7C8-8F3BBA094268}" type="presParOf" srcId="{87058BDE-5535-4089-A0AA-1234D7F9F1C3}" destId="{6C1E7023-EBC3-4D29-BA09-B4D5FBF04598}" srcOrd="19" destOrd="0" presId="urn:microsoft.com/office/officeart/2005/8/layout/vList3#3"/>
    <dgm:cxn modelId="{C0A9739D-FE09-4A22-9FEC-493E4A20E1E6}" type="presParOf" srcId="{87058BDE-5535-4089-A0AA-1234D7F9F1C3}" destId="{72874061-C7D5-4E08-9BF0-5709D4BBF61F}" srcOrd="20" destOrd="0" presId="urn:microsoft.com/office/officeart/2005/8/layout/vList3#3"/>
    <dgm:cxn modelId="{8805ADE9-03EE-4F39-93B0-BF835D3C6ECD}" type="presParOf" srcId="{72874061-C7D5-4E08-9BF0-5709D4BBF61F}" destId="{F10EAC5C-59B9-48DD-89A4-C949647FDAD9}" srcOrd="0" destOrd="0" presId="urn:microsoft.com/office/officeart/2005/8/layout/vList3#3"/>
    <dgm:cxn modelId="{3B3567A7-FC0F-4BFF-B865-0AC406C81322}" type="presParOf" srcId="{72874061-C7D5-4E08-9BF0-5709D4BBF61F}" destId="{667351BB-0248-4E74-B1C5-A037F9ECF0CD}" srcOrd="1" destOrd="0" presId="urn:microsoft.com/office/officeart/2005/8/layout/vList3#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4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3FC66CC-8335-4A8F-BBC2-77F68638D298}">
      <dgm:prSet phldrT="[Text]" custT="1"/>
      <dgm:spPr>
        <a:solidFill>
          <a:srgbClr val="0060A8"/>
        </a:solidFill>
      </dgm:spPr>
      <dgm:t>
        <a:bodyPr lIns="468000" rIns="64800"/>
        <a:lstStyle/>
        <a:p>
          <a:pPr algn="ctr"/>
          <a:r>
            <a:rPr lang="pt-BR" sz="1100" dirty="0" smtClean="0"/>
            <a:t>Russia</a:t>
          </a:r>
          <a:endParaRPr lang="pt-BR" sz="1100" dirty="0"/>
        </a:p>
      </dgm:t>
    </dgm:pt>
    <dgm:pt modelId="{C5EC99D9-8373-420D-BDD8-E196C30FA2F8}" type="sibTrans" cxnId="{C4E00A1E-27F5-47E3-ADBE-56234B50F432}">
      <dgm:prSet/>
      <dgm:spPr/>
      <dgm:t>
        <a:bodyPr/>
        <a:lstStyle/>
        <a:p>
          <a:endParaRPr lang="pt-BR" sz="1100"/>
        </a:p>
      </dgm:t>
    </dgm:pt>
    <dgm:pt modelId="{8DBABC0C-30F9-4217-BFF0-D8CA26CB68E2}" type="parTrans" cxnId="{C4E00A1E-27F5-47E3-ADBE-56234B50F432}">
      <dgm:prSet/>
      <dgm:spPr/>
      <dgm:t>
        <a:bodyPr/>
        <a:lstStyle/>
        <a:p>
          <a:endParaRPr lang="pt-BR" sz="1100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Australia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 sz="1100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 sz="1100"/>
        </a:p>
      </dgm:t>
    </dgm:pt>
    <dgm:pt modelId="{216241E0-54DE-4095-B34B-DF0D312705AD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Germany</a:t>
          </a:r>
          <a:endParaRPr lang="pt-BR" sz="1100" dirty="0"/>
        </a:p>
      </dgm:t>
    </dgm:pt>
    <dgm:pt modelId="{2FF7450B-B5DC-46FD-8EFB-F0DFBA442E39}" type="parTrans" cxnId="{7CE6F46E-6A53-4163-9D5C-111281A54B67}">
      <dgm:prSet/>
      <dgm:spPr/>
      <dgm:t>
        <a:bodyPr/>
        <a:lstStyle/>
        <a:p>
          <a:endParaRPr lang="pt-BR" sz="1100"/>
        </a:p>
      </dgm:t>
    </dgm:pt>
    <dgm:pt modelId="{08C1BC83-C1A9-4451-BEFB-46FBF7EDC1CF}" type="sibTrans" cxnId="{7CE6F46E-6A53-4163-9D5C-111281A54B67}">
      <dgm:prSet/>
      <dgm:spPr/>
      <dgm:t>
        <a:bodyPr/>
        <a:lstStyle/>
        <a:p>
          <a:endParaRPr lang="pt-BR" sz="1100"/>
        </a:p>
      </dgm:t>
    </dgm:pt>
    <dgm:pt modelId="{2D9EFBBA-AAF5-43C6-936E-4AE23FE0DD9C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Taiwan</a:t>
          </a:r>
          <a:endParaRPr lang="pt-BR" sz="1100" dirty="0"/>
        </a:p>
      </dgm:t>
    </dgm:pt>
    <dgm:pt modelId="{0D944B03-5D25-4B33-93F2-423540C0AEAC}" type="parTrans" cxnId="{91BC5990-3D15-47E4-8BEB-1739EB90F016}">
      <dgm:prSet/>
      <dgm:spPr/>
      <dgm:t>
        <a:bodyPr/>
        <a:lstStyle/>
        <a:p>
          <a:endParaRPr lang="pt-BR" sz="1100"/>
        </a:p>
      </dgm:t>
    </dgm:pt>
    <dgm:pt modelId="{FFF842C1-58F2-4B6E-99BE-A46EA189DCB8}" type="sibTrans" cxnId="{91BC5990-3D15-47E4-8BEB-1739EB90F016}">
      <dgm:prSet/>
      <dgm:spPr/>
      <dgm:t>
        <a:bodyPr/>
        <a:lstStyle/>
        <a:p>
          <a:endParaRPr lang="pt-BR" sz="1100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Italy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 sz="1100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 sz="1100"/>
        </a:p>
      </dgm:t>
    </dgm:pt>
    <dgm:pt modelId="{178E99A3-16B9-4994-A6A4-87D3CB6DAEF8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Netherlands</a:t>
          </a:r>
          <a:endParaRPr lang="pt-BR" sz="1100" dirty="0"/>
        </a:p>
      </dgm:t>
    </dgm:pt>
    <dgm:pt modelId="{0AA33D00-D933-4989-ADE5-E8A3678F5C7C}" type="parTrans" cxnId="{EAD71EB8-7FD6-4025-9493-831874C85979}">
      <dgm:prSet/>
      <dgm:spPr/>
      <dgm:t>
        <a:bodyPr/>
        <a:lstStyle/>
        <a:p>
          <a:endParaRPr lang="pt-BR" sz="1100"/>
        </a:p>
      </dgm:t>
    </dgm:pt>
    <dgm:pt modelId="{3C34A19D-506D-46DA-A397-30F0395A497C}" type="sibTrans" cxnId="{EAD71EB8-7FD6-4025-9493-831874C85979}">
      <dgm:prSet/>
      <dgm:spPr/>
      <dgm:t>
        <a:bodyPr/>
        <a:lstStyle/>
        <a:p>
          <a:endParaRPr lang="pt-BR" sz="1100"/>
        </a:p>
      </dgm:t>
    </dgm:pt>
    <dgm:pt modelId="{8FB0472C-E81A-4E27-BCDD-6E45A7680A52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Saudi Arabia</a:t>
          </a:r>
          <a:endParaRPr lang="pt-BR" sz="1100" dirty="0"/>
        </a:p>
      </dgm:t>
    </dgm:pt>
    <dgm:pt modelId="{695A2073-E760-4AFF-9789-0F45D83E87D2}" type="parTrans" cxnId="{90CC2396-6693-4657-A9D7-70CAB703B692}">
      <dgm:prSet/>
      <dgm:spPr/>
      <dgm:t>
        <a:bodyPr/>
        <a:lstStyle/>
        <a:p>
          <a:endParaRPr lang="en-US" sz="1100"/>
        </a:p>
      </dgm:t>
    </dgm:pt>
    <dgm:pt modelId="{DDCE2CBF-78D1-4C1B-ACFC-1CF7B6507EC1}" type="sibTrans" cxnId="{90CC2396-6693-4657-A9D7-70CAB703B692}">
      <dgm:prSet/>
      <dgm:spPr/>
      <dgm:t>
        <a:bodyPr/>
        <a:lstStyle/>
        <a:p>
          <a:endParaRPr lang="en-US" sz="1100"/>
        </a:p>
      </dgm:t>
    </dgm:pt>
    <dgm:pt modelId="{3F4C1462-C4BB-4B5D-9F2D-F8DA1CEE38F7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Portugal</a:t>
          </a:r>
          <a:endParaRPr lang="pt-BR" sz="1100" dirty="0"/>
        </a:p>
      </dgm:t>
    </dgm:pt>
    <dgm:pt modelId="{8D190EEE-762C-47F3-A4E3-A9F8E56D3ADB}" type="parTrans" cxnId="{627A3C04-49EC-443A-BB28-649D9D2D4FDB}">
      <dgm:prSet/>
      <dgm:spPr/>
      <dgm:t>
        <a:bodyPr/>
        <a:lstStyle/>
        <a:p>
          <a:endParaRPr lang="pt-BR" sz="1100"/>
        </a:p>
      </dgm:t>
    </dgm:pt>
    <dgm:pt modelId="{0BB7105D-3DC7-4A7E-A3F9-04D2432D0B60}" type="sibTrans" cxnId="{627A3C04-49EC-443A-BB28-649D9D2D4FDB}">
      <dgm:prSet/>
      <dgm:spPr/>
      <dgm:t>
        <a:bodyPr/>
        <a:lstStyle/>
        <a:p>
          <a:endParaRPr lang="pt-BR" sz="1100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76924332-58D5-4A5B-A2F6-9F5E10522027}" type="pres">
      <dgm:prSet presAssocID="{73FC66CC-8335-4A8F-BBC2-77F68638D298}" presName="composite" presStyleCnt="0"/>
      <dgm:spPr/>
    </dgm:pt>
    <dgm:pt modelId="{A93D5A44-FF78-415A-AB8F-F99D453B4EF4}" type="pres">
      <dgm:prSet presAssocID="{73FC66CC-8335-4A8F-BBC2-77F68638D298}" presName="imgShp" presStyleLbl="fgImgPlace1" presStyleIdx="0" presStyleCnt="8" custScaleX="67842" custScaleY="72863" custLinFactNeighborX="24888" custLinFactNeighborY="2042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1A7B9562-D763-42A3-BA37-7DC7A01252A8}" type="pres">
      <dgm:prSet presAssocID="{73FC66CC-8335-4A8F-BBC2-77F68638D298}" presName="txShp" presStyleLbl="node1" presStyleIdx="0" presStyleCnt="8" custScaleX="118966" custScaleY="71073" custLinFactNeighborX="-2758" custLinFactNeighborY="19528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D803FD5F-C28F-4BE8-802E-8199AAE4DCB1}" type="pres">
      <dgm:prSet presAssocID="{C5EC99D9-8373-420D-BDD8-E196C30FA2F8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1" presStyleCnt="8" custScaleX="67842" custScaleY="72863" custLinFactNeighborX="19017" custLinFactNeighborY="895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6000" r="-56000"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1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F3D82ABC-9063-4447-9B99-5B57F0B1F08F}" type="pres">
      <dgm:prSet presAssocID="{216241E0-54DE-4095-B34B-DF0D312705AD}" presName="composite" presStyleCnt="0"/>
      <dgm:spPr/>
    </dgm:pt>
    <dgm:pt modelId="{EAC25227-1C42-49D0-89BD-CCF4E667B392}" type="pres">
      <dgm:prSet presAssocID="{216241E0-54DE-4095-B34B-DF0D312705AD}" presName="imgShp" presStyleLbl="fgImgPlace1" presStyleIdx="2" presStyleCnt="8" custScaleX="67842" custScaleY="72863" custLinFactNeighborX="19017" custLinFactNeighborY="89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8000" r="-38000"/>
          </a:stretch>
        </a:blipFill>
      </dgm:spPr>
      <dgm:t>
        <a:bodyPr/>
        <a:lstStyle/>
        <a:p>
          <a:endParaRPr lang="pt-BR"/>
        </a:p>
      </dgm:t>
    </dgm:pt>
    <dgm:pt modelId="{092ECB79-F2D9-4ADE-968D-7CAC081472A0}" type="pres">
      <dgm:prSet presAssocID="{216241E0-54DE-4095-B34B-DF0D312705AD}" presName="txShp" presStyleLbl="node1" presStyleIdx="2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F1389DB4-95CE-470F-91D4-C0FD9C079EE8}" type="pres">
      <dgm:prSet presAssocID="{08C1BC83-C1A9-4451-BEFB-46FBF7EDC1CF}" presName="spacing" presStyleCnt="0"/>
      <dgm:spPr/>
    </dgm:pt>
    <dgm:pt modelId="{F172EEB0-7AD0-4053-8545-AB0C615844D7}" type="pres">
      <dgm:prSet presAssocID="{2D9EFBBA-AAF5-43C6-936E-4AE23FE0DD9C}" presName="composite" presStyleCnt="0"/>
      <dgm:spPr/>
    </dgm:pt>
    <dgm:pt modelId="{8E8FFB15-7249-41CC-87BE-02FF1CE2CA73}" type="pres">
      <dgm:prSet presAssocID="{2D9EFBBA-AAF5-43C6-936E-4AE23FE0DD9C}" presName="imgShp" presStyleLbl="fgImgPlace1" presStyleIdx="3" presStyleCnt="8" custScaleX="67842" custScaleY="72863" custLinFactNeighborX="16504" custLinFactNeighborY="3408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1D10B91D-C43A-46BB-8BA3-6C1AEEBC53CE}" type="pres">
      <dgm:prSet presAssocID="{2D9EFBBA-AAF5-43C6-936E-4AE23FE0DD9C}" presName="txShp" presStyleLbl="node1" presStyleIdx="3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16EC8316-63F1-49CA-BC0D-34A6AB57CF3B}" type="pres">
      <dgm:prSet presAssocID="{FFF842C1-58F2-4B6E-99BE-A46EA189DCB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4" presStyleCnt="8" custScaleX="67842" custScaleY="72863" custLinFactNeighborX="19017" custLinFactNeighborY="89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4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021ECEBE-A334-4342-A00F-133F51F25673}" type="pres">
      <dgm:prSet presAssocID="{C0181B45-3A77-4935-AC53-7F62631E5930}" presName="spacing" presStyleCnt="0"/>
      <dgm:spPr/>
    </dgm:pt>
    <dgm:pt modelId="{267D8A28-12C0-4084-8386-3AEB5F1696FA}" type="pres">
      <dgm:prSet presAssocID="{178E99A3-16B9-4994-A6A4-87D3CB6DAEF8}" presName="composite" presStyleCnt="0"/>
      <dgm:spPr/>
    </dgm:pt>
    <dgm:pt modelId="{80055D65-0E23-405E-A3F7-A767BCABD384}" type="pres">
      <dgm:prSet presAssocID="{178E99A3-16B9-4994-A6A4-87D3CB6DAEF8}" presName="imgShp" presStyleLbl="fgImgPlace1" presStyleIdx="5" presStyleCnt="8" custScaleX="67842" custScaleY="72863" custLinFactNeighborX="19017" custLinFactNeighborY="895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95854B4E-F91C-4772-9068-EF188564CC05}" type="pres">
      <dgm:prSet presAssocID="{178E99A3-16B9-4994-A6A4-87D3CB6DAEF8}" presName="txShp" presStyleLbl="node1" presStyleIdx="5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56505651-13CC-45F1-A900-97D467280DAD}" type="pres">
      <dgm:prSet presAssocID="{3C34A19D-506D-46DA-A397-30F0395A497C}" presName="spacing" presStyleCnt="0"/>
      <dgm:spPr/>
    </dgm:pt>
    <dgm:pt modelId="{00E70B7C-FF5B-4521-876A-9351D6C3B577}" type="pres">
      <dgm:prSet presAssocID="{3F4C1462-C4BB-4B5D-9F2D-F8DA1CEE38F7}" presName="composite" presStyleCnt="0"/>
      <dgm:spPr/>
    </dgm:pt>
    <dgm:pt modelId="{8B2F6F96-65C2-4C4A-B2F9-0EF40B51CC30}" type="pres">
      <dgm:prSet presAssocID="{3F4C1462-C4BB-4B5D-9F2D-F8DA1CEE38F7}" presName="imgShp" presStyleLbl="fgImgPlace1" presStyleIdx="6" presStyleCnt="8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A5A76D21-409B-483D-B707-4D929A0EA6F0}" type="pres">
      <dgm:prSet presAssocID="{3F4C1462-C4BB-4B5D-9F2D-F8DA1CEE38F7}" presName="txShp" presStyleLbl="node1" presStyleIdx="6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45D60439-E904-4082-A18E-DB5560339C2F}" type="pres">
      <dgm:prSet presAssocID="{0BB7105D-3DC7-4A7E-A3F9-04D2432D0B60}" presName="spacing" presStyleCnt="0"/>
      <dgm:spPr/>
    </dgm:pt>
    <dgm:pt modelId="{C13F6518-299D-431B-89A7-1D9CE2A81B63}" type="pres">
      <dgm:prSet presAssocID="{8FB0472C-E81A-4E27-BCDD-6E45A7680A52}" presName="composite" presStyleCnt="0"/>
      <dgm:spPr/>
    </dgm:pt>
    <dgm:pt modelId="{4C24F84B-35F8-4159-9374-990BCAC38D6F}" type="pres">
      <dgm:prSet presAssocID="{8FB0472C-E81A-4E27-BCDD-6E45A7680A52}" presName="imgShp" presStyleLbl="fgImgPlace1" presStyleIdx="7" presStyleCnt="8" custScaleX="67842" custScaleY="72863" custLinFactNeighborX="19017" custLinFactNeighborY="895"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4DE99BE-E34F-40E4-9868-E214ED8B0A02}" type="pres">
      <dgm:prSet presAssocID="{8FB0472C-E81A-4E27-BCDD-6E45A7680A52}" presName="txShp" presStyleLbl="node1" presStyleIdx="7" presStyleCnt="8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</dgm:ptLst>
  <dgm:cxnLst>
    <dgm:cxn modelId="{EAD71EB8-7FD6-4025-9493-831874C85979}" srcId="{8424DC7B-61D0-4B32-9250-D2600E5E661F}" destId="{178E99A3-16B9-4994-A6A4-87D3CB6DAEF8}" srcOrd="5" destOrd="0" parTransId="{0AA33D00-D933-4989-ADE5-E8A3678F5C7C}" sibTransId="{3C34A19D-506D-46DA-A397-30F0395A497C}"/>
    <dgm:cxn modelId="{C4E00A1E-27F5-47E3-ADBE-56234B50F432}" srcId="{8424DC7B-61D0-4B32-9250-D2600E5E661F}" destId="{73FC66CC-8335-4A8F-BBC2-77F68638D298}" srcOrd="0" destOrd="0" parTransId="{8DBABC0C-30F9-4217-BFF0-D8CA26CB68E2}" sibTransId="{C5EC99D9-8373-420D-BDD8-E196C30FA2F8}"/>
    <dgm:cxn modelId="{91BC5990-3D15-47E4-8BEB-1739EB90F016}" srcId="{8424DC7B-61D0-4B32-9250-D2600E5E661F}" destId="{2D9EFBBA-AAF5-43C6-936E-4AE23FE0DD9C}" srcOrd="3" destOrd="0" parTransId="{0D944B03-5D25-4B33-93F2-423540C0AEAC}" sibTransId="{FFF842C1-58F2-4B6E-99BE-A46EA189DCB8}"/>
    <dgm:cxn modelId="{7CE6F46E-6A53-4163-9D5C-111281A54B67}" srcId="{8424DC7B-61D0-4B32-9250-D2600E5E661F}" destId="{216241E0-54DE-4095-B34B-DF0D312705AD}" srcOrd="2" destOrd="0" parTransId="{2FF7450B-B5DC-46FD-8EFB-F0DFBA442E39}" sibTransId="{08C1BC83-C1A9-4451-BEFB-46FBF7EDC1CF}"/>
    <dgm:cxn modelId="{DFE17465-2311-4420-B2B7-B4F2172261DD}" srcId="{8424DC7B-61D0-4B32-9250-D2600E5E661F}" destId="{5448CEB9-8650-438E-8FB3-C42D0EB69ACA}" srcOrd="1" destOrd="0" parTransId="{16A69258-7DEA-4922-9BF4-EE42C4975625}" sibTransId="{00E2C79A-ED8B-4AC0-AC58-AE040DA88948}"/>
    <dgm:cxn modelId="{88B6B6ED-93C1-4688-9B10-B198995A42FF}" type="presOf" srcId="{C45CAB58-00D0-484A-BD5A-4E91A7FBCB76}" destId="{F5A9A23F-C721-4779-BD70-16DAAFF968E9}" srcOrd="0" destOrd="0" presId="urn:microsoft.com/office/officeart/2005/8/layout/vList3#4"/>
    <dgm:cxn modelId="{A36A19C1-3961-4665-BB9A-34AB0549E466}" type="presOf" srcId="{2D9EFBBA-AAF5-43C6-936E-4AE23FE0DD9C}" destId="{1D10B91D-C43A-46BB-8BA3-6C1AEEBC53CE}" srcOrd="0" destOrd="0" presId="urn:microsoft.com/office/officeart/2005/8/layout/vList3#4"/>
    <dgm:cxn modelId="{0A0E53B0-F078-496C-B7C2-2B6968E5ECB4}" type="presOf" srcId="{178E99A3-16B9-4994-A6A4-87D3CB6DAEF8}" destId="{95854B4E-F91C-4772-9068-EF188564CC05}" srcOrd="0" destOrd="0" presId="urn:microsoft.com/office/officeart/2005/8/layout/vList3#4"/>
    <dgm:cxn modelId="{F75E2944-EFE8-4D84-A6F1-F93031E807DF}" type="presOf" srcId="{216241E0-54DE-4095-B34B-DF0D312705AD}" destId="{092ECB79-F2D9-4ADE-968D-7CAC081472A0}" srcOrd="0" destOrd="0" presId="urn:microsoft.com/office/officeart/2005/8/layout/vList3#4"/>
    <dgm:cxn modelId="{30551780-CD76-4168-8911-A903C6258A63}" srcId="{8424DC7B-61D0-4B32-9250-D2600E5E661F}" destId="{C45CAB58-00D0-484A-BD5A-4E91A7FBCB76}" srcOrd="4" destOrd="0" parTransId="{1B29F30B-FE38-45AD-8084-7CEE50C87D82}" sibTransId="{C0181B45-3A77-4935-AC53-7F62631E5930}"/>
    <dgm:cxn modelId="{90CC2396-6693-4657-A9D7-70CAB703B692}" srcId="{8424DC7B-61D0-4B32-9250-D2600E5E661F}" destId="{8FB0472C-E81A-4E27-BCDD-6E45A7680A52}" srcOrd="7" destOrd="0" parTransId="{695A2073-E760-4AFF-9789-0F45D83E87D2}" sibTransId="{DDCE2CBF-78D1-4C1B-ACFC-1CF7B6507EC1}"/>
    <dgm:cxn modelId="{627A3C04-49EC-443A-BB28-649D9D2D4FDB}" srcId="{8424DC7B-61D0-4B32-9250-D2600E5E661F}" destId="{3F4C1462-C4BB-4B5D-9F2D-F8DA1CEE38F7}" srcOrd="6" destOrd="0" parTransId="{8D190EEE-762C-47F3-A4E3-A9F8E56D3ADB}" sibTransId="{0BB7105D-3DC7-4A7E-A3F9-04D2432D0B60}"/>
    <dgm:cxn modelId="{7829570C-98AA-4DF5-9D60-206D8A1352EC}" type="presOf" srcId="{3F4C1462-C4BB-4B5D-9F2D-F8DA1CEE38F7}" destId="{A5A76D21-409B-483D-B707-4D929A0EA6F0}" srcOrd="0" destOrd="0" presId="urn:microsoft.com/office/officeart/2005/8/layout/vList3#4"/>
    <dgm:cxn modelId="{3A935CF1-3926-4B0D-A5FB-D4ADCC0F94C5}" type="presOf" srcId="{5448CEB9-8650-438E-8FB3-C42D0EB69ACA}" destId="{8AB5F03D-5127-4B4F-8781-66AA1653AB7E}" srcOrd="0" destOrd="0" presId="urn:microsoft.com/office/officeart/2005/8/layout/vList3#4"/>
    <dgm:cxn modelId="{C440CA35-29BA-4521-9FA7-71CF0953C19D}" type="presOf" srcId="{73FC66CC-8335-4A8F-BBC2-77F68638D298}" destId="{1A7B9562-D763-42A3-BA37-7DC7A01252A8}" srcOrd="0" destOrd="0" presId="urn:microsoft.com/office/officeart/2005/8/layout/vList3#4"/>
    <dgm:cxn modelId="{4A584738-0D91-45CB-9841-A439A5A37C3F}" type="presOf" srcId="{8424DC7B-61D0-4B32-9250-D2600E5E661F}" destId="{87058BDE-5535-4089-A0AA-1234D7F9F1C3}" srcOrd="0" destOrd="0" presId="urn:microsoft.com/office/officeart/2005/8/layout/vList3#4"/>
    <dgm:cxn modelId="{0648919E-092F-4EF6-82FC-4A3A793F4C2D}" type="presOf" srcId="{8FB0472C-E81A-4E27-BCDD-6E45A7680A52}" destId="{F4DE99BE-E34F-40E4-9868-E214ED8B0A02}" srcOrd="0" destOrd="0" presId="urn:microsoft.com/office/officeart/2005/8/layout/vList3#4"/>
    <dgm:cxn modelId="{C17BCC2B-AC5B-473C-B982-C75FC3FFF968}" type="presParOf" srcId="{87058BDE-5535-4089-A0AA-1234D7F9F1C3}" destId="{76924332-58D5-4A5B-A2F6-9F5E10522027}" srcOrd="0" destOrd="0" presId="urn:microsoft.com/office/officeart/2005/8/layout/vList3#4"/>
    <dgm:cxn modelId="{C3D79CAA-7E2C-4DE7-B376-C358B13EEE72}" type="presParOf" srcId="{76924332-58D5-4A5B-A2F6-9F5E10522027}" destId="{A93D5A44-FF78-415A-AB8F-F99D453B4EF4}" srcOrd="0" destOrd="0" presId="urn:microsoft.com/office/officeart/2005/8/layout/vList3#4"/>
    <dgm:cxn modelId="{69CD7602-0911-412B-AA1F-15D9E7EFD6F4}" type="presParOf" srcId="{76924332-58D5-4A5B-A2F6-9F5E10522027}" destId="{1A7B9562-D763-42A3-BA37-7DC7A01252A8}" srcOrd="1" destOrd="0" presId="urn:microsoft.com/office/officeart/2005/8/layout/vList3#4"/>
    <dgm:cxn modelId="{9F9BF23D-7E79-424E-9477-155A85506980}" type="presParOf" srcId="{87058BDE-5535-4089-A0AA-1234D7F9F1C3}" destId="{D803FD5F-C28F-4BE8-802E-8199AAE4DCB1}" srcOrd="1" destOrd="0" presId="urn:microsoft.com/office/officeart/2005/8/layout/vList3#4"/>
    <dgm:cxn modelId="{E56251F4-C235-44E5-80B5-BB912C130E3A}" type="presParOf" srcId="{87058BDE-5535-4089-A0AA-1234D7F9F1C3}" destId="{DD1EC1FE-424B-476D-A119-77F04D0CD370}" srcOrd="2" destOrd="0" presId="urn:microsoft.com/office/officeart/2005/8/layout/vList3#4"/>
    <dgm:cxn modelId="{DF88D86E-39DD-4764-AA0F-B0A1AF25619E}" type="presParOf" srcId="{DD1EC1FE-424B-476D-A119-77F04D0CD370}" destId="{3376CF8E-261A-4906-A83E-CC3CB1AA16F1}" srcOrd="0" destOrd="0" presId="urn:microsoft.com/office/officeart/2005/8/layout/vList3#4"/>
    <dgm:cxn modelId="{54C04007-1AE1-4679-9852-B526F5D57DBB}" type="presParOf" srcId="{DD1EC1FE-424B-476D-A119-77F04D0CD370}" destId="{8AB5F03D-5127-4B4F-8781-66AA1653AB7E}" srcOrd="1" destOrd="0" presId="urn:microsoft.com/office/officeart/2005/8/layout/vList3#4"/>
    <dgm:cxn modelId="{98EEA2A1-F512-4245-AA77-40E9767CA43C}" type="presParOf" srcId="{87058BDE-5535-4089-A0AA-1234D7F9F1C3}" destId="{963671C7-9FC0-460F-9EE7-9EC05E2546EC}" srcOrd="3" destOrd="0" presId="urn:microsoft.com/office/officeart/2005/8/layout/vList3#4"/>
    <dgm:cxn modelId="{36829720-45FE-49F6-B362-B478E924A9F5}" type="presParOf" srcId="{87058BDE-5535-4089-A0AA-1234D7F9F1C3}" destId="{F3D82ABC-9063-4447-9B99-5B57F0B1F08F}" srcOrd="4" destOrd="0" presId="urn:microsoft.com/office/officeart/2005/8/layout/vList3#4"/>
    <dgm:cxn modelId="{888C6425-F350-4616-822C-2E1151A944A5}" type="presParOf" srcId="{F3D82ABC-9063-4447-9B99-5B57F0B1F08F}" destId="{EAC25227-1C42-49D0-89BD-CCF4E667B392}" srcOrd="0" destOrd="0" presId="urn:microsoft.com/office/officeart/2005/8/layout/vList3#4"/>
    <dgm:cxn modelId="{1402E819-30C2-4820-B647-0EDDB577745A}" type="presParOf" srcId="{F3D82ABC-9063-4447-9B99-5B57F0B1F08F}" destId="{092ECB79-F2D9-4ADE-968D-7CAC081472A0}" srcOrd="1" destOrd="0" presId="urn:microsoft.com/office/officeart/2005/8/layout/vList3#4"/>
    <dgm:cxn modelId="{00386D09-5022-4CE9-9BC5-01A222220BAE}" type="presParOf" srcId="{87058BDE-5535-4089-A0AA-1234D7F9F1C3}" destId="{F1389DB4-95CE-470F-91D4-C0FD9C079EE8}" srcOrd="5" destOrd="0" presId="urn:microsoft.com/office/officeart/2005/8/layout/vList3#4"/>
    <dgm:cxn modelId="{18E00D76-FF08-4586-983D-8126A1C2215C}" type="presParOf" srcId="{87058BDE-5535-4089-A0AA-1234D7F9F1C3}" destId="{F172EEB0-7AD0-4053-8545-AB0C615844D7}" srcOrd="6" destOrd="0" presId="urn:microsoft.com/office/officeart/2005/8/layout/vList3#4"/>
    <dgm:cxn modelId="{E242815A-9CB0-464F-881F-ACDA4F436101}" type="presParOf" srcId="{F172EEB0-7AD0-4053-8545-AB0C615844D7}" destId="{8E8FFB15-7249-41CC-87BE-02FF1CE2CA73}" srcOrd="0" destOrd="0" presId="urn:microsoft.com/office/officeart/2005/8/layout/vList3#4"/>
    <dgm:cxn modelId="{111A4E33-6FD4-48D4-A395-FC7D41D39083}" type="presParOf" srcId="{F172EEB0-7AD0-4053-8545-AB0C615844D7}" destId="{1D10B91D-C43A-46BB-8BA3-6C1AEEBC53CE}" srcOrd="1" destOrd="0" presId="urn:microsoft.com/office/officeart/2005/8/layout/vList3#4"/>
    <dgm:cxn modelId="{7B44E171-8B7B-4EA3-BC60-7CD3DB9C878A}" type="presParOf" srcId="{87058BDE-5535-4089-A0AA-1234D7F9F1C3}" destId="{16EC8316-63F1-49CA-BC0D-34A6AB57CF3B}" srcOrd="7" destOrd="0" presId="urn:microsoft.com/office/officeart/2005/8/layout/vList3#4"/>
    <dgm:cxn modelId="{FDF22903-6AF6-4045-87DE-9A0F2AFABACB}" type="presParOf" srcId="{87058BDE-5535-4089-A0AA-1234D7F9F1C3}" destId="{3E3E218C-9F8A-4DD2-A6B4-497CC7EDB507}" srcOrd="8" destOrd="0" presId="urn:microsoft.com/office/officeart/2005/8/layout/vList3#4"/>
    <dgm:cxn modelId="{A746ED26-5675-4956-8DDE-1939BEAA253C}" type="presParOf" srcId="{3E3E218C-9F8A-4DD2-A6B4-497CC7EDB507}" destId="{472A3E97-5AC7-4093-8C5C-CC4F5B343949}" srcOrd="0" destOrd="0" presId="urn:microsoft.com/office/officeart/2005/8/layout/vList3#4"/>
    <dgm:cxn modelId="{CC7D4249-DDB6-496C-81E0-740920031A51}" type="presParOf" srcId="{3E3E218C-9F8A-4DD2-A6B4-497CC7EDB507}" destId="{F5A9A23F-C721-4779-BD70-16DAAFF968E9}" srcOrd="1" destOrd="0" presId="urn:microsoft.com/office/officeart/2005/8/layout/vList3#4"/>
    <dgm:cxn modelId="{8EE94443-38CF-45D5-B211-98B24B363C67}" type="presParOf" srcId="{87058BDE-5535-4089-A0AA-1234D7F9F1C3}" destId="{021ECEBE-A334-4342-A00F-133F51F25673}" srcOrd="9" destOrd="0" presId="urn:microsoft.com/office/officeart/2005/8/layout/vList3#4"/>
    <dgm:cxn modelId="{4639CC73-42D9-4329-A653-AAB504E68CA7}" type="presParOf" srcId="{87058BDE-5535-4089-A0AA-1234D7F9F1C3}" destId="{267D8A28-12C0-4084-8386-3AEB5F1696FA}" srcOrd="10" destOrd="0" presId="urn:microsoft.com/office/officeart/2005/8/layout/vList3#4"/>
    <dgm:cxn modelId="{6EFDDFAA-9E57-4205-BF2D-22771706C5B6}" type="presParOf" srcId="{267D8A28-12C0-4084-8386-3AEB5F1696FA}" destId="{80055D65-0E23-405E-A3F7-A767BCABD384}" srcOrd="0" destOrd="0" presId="urn:microsoft.com/office/officeart/2005/8/layout/vList3#4"/>
    <dgm:cxn modelId="{F00D6023-8DFF-4D00-9174-72DAA1B6CFB1}" type="presParOf" srcId="{267D8A28-12C0-4084-8386-3AEB5F1696FA}" destId="{95854B4E-F91C-4772-9068-EF188564CC05}" srcOrd="1" destOrd="0" presId="urn:microsoft.com/office/officeart/2005/8/layout/vList3#4"/>
    <dgm:cxn modelId="{1869C70E-D3B5-4F1C-BDAE-8E78990C3DF6}" type="presParOf" srcId="{87058BDE-5535-4089-A0AA-1234D7F9F1C3}" destId="{56505651-13CC-45F1-A900-97D467280DAD}" srcOrd="11" destOrd="0" presId="urn:microsoft.com/office/officeart/2005/8/layout/vList3#4"/>
    <dgm:cxn modelId="{C429174B-FD4A-4161-8000-FCE0E823F68A}" type="presParOf" srcId="{87058BDE-5535-4089-A0AA-1234D7F9F1C3}" destId="{00E70B7C-FF5B-4521-876A-9351D6C3B577}" srcOrd="12" destOrd="0" presId="urn:microsoft.com/office/officeart/2005/8/layout/vList3#4"/>
    <dgm:cxn modelId="{A265F3D7-FAAE-46EF-A16B-72A8765897C8}" type="presParOf" srcId="{00E70B7C-FF5B-4521-876A-9351D6C3B577}" destId="{8B2F6F96-65C2-4C4A-B2F9-0EF40B51CC30}" srcOrd="0" destOrd="0" presId="urn:microsoft.com/office/officeart/2005/8/layout/vList3#4"/>
    <dgm:cxn modelId="{500A82AC-24C6-47A9-B971-ACCA98287056}" type="presParOf" srcId="{00E70B7C-FF5B-4521-876A-9351D6C3B577}" destId="{A5A76D21-409B-483D-B707-4D929A0EA6F0}" srcOrd="1" destOrd="0" presId="urn:microsoft.com/office/officeart/2005/8/layout/vList3#4"/>
    <dgm:cxn modelId="{6D430850-D92B-4B0F-91C4-50C4A635A047}" type="presParOf" srcId="{87058BDE-5535-4089-A0AA-1234D7F9F1C3}" destId="{45D60439-E904-4082-A18E-DB5560339C2F}" srcOrd="13" destOrd="0" presId="urn:microsoft.com/office/officeart/2005/8/layout/vList3#4"/>
    <dgm:cxn modelId="{A3AFE820-AE69-4C08-BA57-A2E2140BCFB3}" type="presParOf" srcId="{87058BDE-5535-4089-A0AA-1234D7F9F1C3}" destId="{C13F6518-299D-431B-89A7-1D9CE2A81B63}" srcOrd="14" destOrd="0" presId="urn:microsoft.com/office/officeart/2005/8/layout/vList3#4"/>
    <dgm:cxn modelId="{9AFE4B3C-119F-403C-B0FA-4666A3277817}" type="presParOf" srcId="{C13F6518-299D-431B-89A7-1D9CE2A81B63}" destId="{4C24F84B-35F8-4159-9374-990BCAC38D6F}" srcOrd="0" destOrd="0" presId="urn:microsoft.com/office/officeart/2005/8/layout/vList3#4"/>
    <dgm:cxn modelId="{35B1A8C3-29DA-4805-9345-AFB24834BFFD}" type="presParOf" srcId="{C13F6518-299D-431B-89A7-1D9CE2A81B63}" destId="{F4DE99BE-E34F-40E4-9868-E214ED8B0A02}" srcOrd="1" destOrd="0" presId="urn:microsoft.com/office/officeart/2005/8/layout/vList3#4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5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F3E57B5-FD08-4624-B73D-E7BA214DCE55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Nigeria</a:t>
          </a:r>
          <a:endParaRPr lang="pt-BR" sz="1100" dirty="0"/>
        </a:p>
      </dgm:t>
    </dgm:pt>
    <dgm:pt modelId="{3AE26608-7BD1-49B2-A8C8-A028BEF9AC42}" type="parTrans" cxnId="{CC8C7A35-EABE-43A0-834C-4341D531833E}">
      <dgm:prSet/>
      <dgm:spPr/>
      <dgm:t>
        <a:bodyPr/>
        <a:lstStyle/>
        <a:p>
          <a:endParaRPr lang="pt-BR" sz="1100"/>
        </a:p>
      </dgm:t>
    </dgm:pt>
    <dgm:pt modelId="{BDCF2982-84EF-4203-BB0C-9D5F316011E3}" type="sibTrans" cxnId="{CC8C7A35-EABE-43A0-834C-4341D531833E}">
      <dgm:prSet/>
      <dgm:spPr/>
      <dgm:t>
        <a:bodyPr/>
        <a:lstStyle/>
        <a:p>
          <a:endParaRPr lang="pt-BR" sz="1100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050" dirty="0" smtClean="0"/>
            <a:t>Switzerland</a:t>
          </a:r>
          <a:endParaRPr lang="pt-BR" sz="105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 sz="1100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 sz="1100"/>
        </a:p>
      </dgm:t>
    </dgm:pt>
    <dgm:pt modelId="{216241E0-54DE-4095-B34B-DF0D312705AD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Cambodia</a:t>
          </a:r>
          <a:endParaRPr lang="pt-BR" sz="1100" dirty="0"/>
        </a:p>
      </dgm:t>
    </dgm:pt>
    <dgm:pt modelId="{2FF7450B-B5DC-46FD-8EFB-F0DFBA442E39}" type="parTrans" cxnId="{7CE6F46E-6A53-4163-9D5C-111281A54B67}">
      <dgm:prSet/>
      <dgm:spPr/>
      <dgm:t>
        <a:bodyPr/>
        <a:lstStyle/>
        <a:p>
          <a:endParaRPr lang="pt-BR" sz="1100"/>
        </a:p>
      </dgm:t>
    </dgm:pt>
    <dgm:pt modelId="{08C1BC83-C1A9-4451-BEFB-46FBF7EDC1CF}" type="sibTrans" cxnId="{7CE6F46E-6A53-4163-9D5C-111281A54B67}">
      <dgm:prSet/>
      <dgm:spPr/>
      <dgm:t>
        <a:bodyPr/>
        <a:lstStyle/>
        <a:p>
          <a:endParaRPr lang="pt-BR" sz="1100"/>
        </a:p>
      </dgm:t>
    </dgm:pt>
    <dgm:pt modelId="{2D9EFBBA-AAF5-43C6-936E-4AE23FE0DD9C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Laos</a:t>
          </a:r>
          <a:endParaRPr lang="pt-BR" sz="1100" dirty="0"/>
        </a:p>
      </dgm:t>
    </dgm:pt>
    <dgm:pt modelId="{0D944B03-5D25-4B33-93F2-423540C0AEAC}" type="parTrans" cxnId="{91BC5990-3D15-47E4-8BEB-1739EB90F016}">
      <dgm:prSet/>
      <dgm:spPr/>
      <dgm:t>
        <a:bodyPr/>
        <a:lstStyle/>
        <a:p>
          <a:endParaRPr lang="pt-BR" sz="1100"/>
        </a:p>
      </dgm:t>
    </dgm:pt>
    <dgm:pt modelId="{FFF842C1-58F2-4B6E-99BE-A46EA189DCB8}" type="sibTrans" cxnId="{91BC5990-3D15-47E4-8BEB-1739EB90F016}">
      <dgm:prSet/>
      <dgm:spPr/>
      <dgm:t>
        <a:bodyPr/>
        <a:lstStyle/>
        <a:p>
          <a:endParaRPr lang="pt-BR" sz="1100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Philippines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 sz="1100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 sz="1100"/>
        </a:p>
      </dgm:t>
    </dgm:pt>
    <dgm:pt modelId="{3C0A07DF-ECB7-4F35-A8F2-44152C236417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Sweden</a:t>
          </a:r>
          <a:endParaRPr lang="pt-BR" sz="1100" dirty="0"/>
        </a:p>
      </dgm:t>
    </dgm:pt>
    <dgm:pt modelId="{A1F80396-9C7B-4C97-93A2-E3F86C87EB86}" type="parTrans" cxnId="{64BBEBD3-1087-4BE9-88A3-6BBD851EB459}">
      <dgm:prSet/>
      <dgm:spPr/>
      <dgm:t>
        <a:bodyPr/>
        <a:lstStyle/>
        <a:p>
          <a:endParaRPr lang="en-US" sz="1100"/>
        </a:p>
      </dgm:t>
    </dgm:pt>
    <dgm:pt modelId="{6F4ABD03-84B5-4FD1-80BC-64DEB1B04AEB}" type="sibTrans" cxnId="{64BBEBD3-1087-4BE9-88A3-6BBD851EB459}">
      <dgm:prSet/>
      <dgm:spPr/>
      <dgm:t>
        <a:bodyPr/>
        <a:lstStyle/>
        <a:p>
          <a:endParaRPr lang="en-US" sz="1100"/>
        </a:p>
      </dgm:t>
    </dgm:pt>
    <dgm:pt modelId="{BD3B7A42-716C-4C11-A44B-373D4C79DFF8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Austria</a:t>
          </a:r>
          <a:endParaRPr lang="pt-BR" sz="1100" dirty="0"/>
        </a:p>
      </dgm:t>
    </dgm:pt>
    <dgm:pt modelId="{431332E9-BCBA-402B-968C-4D954701ACE5}" type="sibTrans" cxnId="{507DE541-CDE0-403B-BAC4-321B4F6A6FAF}">
      <dgm:prSet/>
      <dgm:spPr/>
      <dgm:t>
        <a:bodyPr/>
        <a:lstStyle/>
        <a:p>
          <a:endParaRPr lang="en-US" sz="1100"/>
        </a:p>
      </dgm:t>
    </dgm:pt>
    <dgm:pt modelId="{7CAD7504-058E-415E-B1BF-8FE1EDD327B7}" type="parTrans" cxnId="{507DE541-CDE0-403B-BAC4-321B4F6A6FAF}">
      <dgm:prSet/>
      <dgm:spPr/>
      <dgm:t>
        <a:bodyPr/>
        <a:lstStyle/>
        <a:p>
          <a:endParaRPr lang="en-US" sz="1100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37374C5-9E71-435E-986C-0E164D1B7DB4}" type="pres">
      <dgm:prSet presAssocID="{BD3B7A42-716C-4C11-A44B-373D4C79DFF8}" presName="composite" presStyleCnt="0"/>
      <dgm:spPr/>
    </dgm:pt>
    <dgm:pt modelId="{DDC251D1-2F5D-4BC9-B01F-2C8DB20D7805}" type="pres">
      <dgm:prSet presAssocID="{BD3B7A42-716C-4C11-A44B-373D4C79DFF8}" presName="imgShp" presStyleLbl="fgImgPlace1" presStyleIdx="0" presStyleCnt="7" custScaleX="67842" custScaleY="72863" custLinFactNeighborX="19017" custLinFactNeighborY="89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98506B9-A2B7-4E21-85A9-E4688E606EE5}" type="pres">
      <dgm:prSet presAssocID="{BD3B7A42-716C-4C11-A44B-373D4C79DFF8}" presName="txShp" presStyleLbl="node1" presStyleIdx="0" presStyleCnt="7" custAng="0" custScaleX="118966" custScaleY="71073" custLinFactNeighborX="118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B24EA26B-E77A-4F8C-96C5-07167FBB00B7}" type="pres">
      <dgm:prSet presAssocID="{431332E9-BCBA-402B-968C-4D954701ACE5}" presName="spacing" presStyleCnt="0"/>
      <dgm:spPr/>
    </dgm:pt>
    <dgm:pt modelId="{929D0D88-7075-4888-9FE3-91BE5A74DF1C}" type="pres">
      <dgm:prSet presAssocID="{BF3E57B5-FD08-4624-B73D-E7BA214DCE55}" presName="composite" presStyleCnt="0"/>
      <dgm:spPr/>
    </dgm:pt>
    <dgm:pt modelId="{AD7398DF-35D2-4429-9557-67D2E7E0D76C}" type="pres">
      <dgm:prSet presAssocID="{BF3E57B5-FD08-4624-B73D-E7BA214DCE55}" presName="imgShp" presStyleLbl="fgImgPlace1" presStyleIdx="1" presStyleCnt="7" custScaleX="67842" custScaleY="72863" custLinFactNeighborX="19017" custLinFactNeighborY="89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4E94D776-3AE0-4037-94E9-A0F6957146A3}" type="pres">
      <dgm:prSet presAssocID="{BF3E57B5-FD08-4624-B73D-E7BA214DCE55}" presName="txShp" presStyleLbl="node1" presStyleIdx="1" presStyleCnt="7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25F6CC78-26D3-4A73-BE50-284020276647}" type="pres">
      <dgm:prSet presAssocID="{BDCF2982-84EF-4203-BB0C-9D5F316011E3}" presName="spacing" presStyleCnt="0"/>
      <dgm:spPr/>
    </dgm:pt>
    <dgm:pt modelId="{5C5ECB1C-9842-480D-883B-9E0914F2DE2E}" type="pres">
      <dgm:prSet presAssocID="{3C0A07DF-ECB7-4F35-A8F2-44152C236417}" presName="composite" presStyleCnt="0"/>
      <dgm:spPr/>
    </dgm:pt>
    <dgm:pt modelId="{2CA1FAD2-92BB-49DC-87A9-66FEDF4C7A11}" type="pres">
      <dgm:prSet presAssocID="{3C0A07DF-ECB7-4F35-A8F2-44152C236417}" presName="imgShp" presStyleLbl="fgImgPlace1" presStyleIdx="2" presStyleCnt="7" custScaleX="67842" custScaleY="72863" custLinFactNeighborX="19017" custLinFactNeighborY="89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E3BD35FC-5E59-4339-BE07-22819BAADE59}" type="pres">
      <dgm:prSet presAssocID="{3C0A07DF-ECB7-4F35-A8F2-44152C236417}" presName="txShp" presStyleLbl="node1" presStyleIdx="2" presStyleCnt="7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DBC50E3A-C8C7-449F-80E2-9C862D098B95}" type="pres">
      <dgm:prSet presAssocID="{6F4ABD03-84B5-4FD1-80BC-64DEB1B04AEB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3" presStyleCnt="7" custScaleX="67842" custScaleY="72863" custLinFactNeighborX="19017" custLinFactNeighborY="89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3" presStyleCnt="7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F3D82ABC-9063-4447-9B99-5B57F0B1F08F}" type="pres">
      <dgm:prSet presAssocID="{216241E0-54DE-4095-B34B-DF0D312705AD}" presName="composite" presStyleCnt="0"/>
      <dgm:spPr/>
    </dgm:pt>
    <dgm:pt modelId="{EAC25227-1C42-49D0-89BD-CCF4E667B392}" type="pres">
      <dgm:prSet presAssocID="{216241E0-54DE-4095-B34B-DF0D312705AD}" presName="imgShp" presStyleLbl="fgImgPlace1" presStyleIdx="4" presStyleCnt="7" custScaleX="67842" custScaleY="72863" custLinFactNeighborX="19017" custLinFactNeighborY="89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092ECB79-F2D9-4ADE-968D-7CAC081472A0}" type="pres">
      <dgm:prSet presAssocID="{216241E0-54DE-4095-B34B-DF0D312705AD}" presName="txShp" presStyleLbl="node1" presStyleIdx="4" presStyleCnt="7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F1389DB4-95CE-470F-91D4-C0FD9C079EE8}" type="pres">
      <dgm:prSet presAssocID="{08C1BC83-C1A9-4451-BEFB-46FBF7EDC1CF}" presName="spacing" presStyleCnt="0"/>
      <dgm:spPr/>
    </dgm:pt>
    <dgm:pt modelId="{F172EEB0-7AD0-4053-8545-AB0C615844D7}" type="pres">
      <dgm:prSet presAssocID="{2D9EFBBA-AAF5-43C6-936E-4AE23FE0DD9C}" presName="composite" presStyleCnt="0"/>
      <dgm:spPr/>
    </dgm:pt>
    <dgm:pt modelId="{8E8FFB15-7249-41CC-87BE-02FF1CE2CA73}" type="pres">
      <dgm:prSet presAssocID="{2D9EFBBA-AAF5-43C6-936E-4AE23FE0DD9C}" presName="imgShp" presStyleLbl="fgImgPlace1" presStyleIdx="5" presStyleCnt="7" custScaleX="67842" custScaleY="72863" custLinFactNeighborX="19017" custLinFactNeighborY="-11105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1D10B91D-C43A-46BB-8BA3-6C1AEEBC53CE}" type="pres">
      <dgm:prSet presAssocID="{2D9EFBBA-AAF5-43C6-936E-4AE23FE0DD9C}" presName="txShp" presStyleLbl="node1" presStyleIdx="5" presStyleCnt="7" custScaleX="118966" custScaleY="71073" custLinFactNeighborY="-120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16EC8316-63F1-49CA-BC0D-34A6AB57CF3B}" type="pres">
      <dgm:prSet presAssocID="{FFF842C1-58F2-4B6E-99BE-A46EA189DCB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6" presStyleCnt="7" custScaleX="67842" custScaleY="72863" custLinFactNeighborX="19017" custLinFactNeighborY="-25505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6" presStyleCnt="7" custScaleX="118966" custScaleY="71073" custLinFactNeighborY="-26400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</dgm:ptLst>
  <dgm:cxnLst>
    <dgm:cxn modelId="{507DE541-CDE0-403B-BAC4-321B4F6A6FAF}" srcId="{8424DC7B-61D0-4B32-9250-D2600E5E661F}" destId="{BD3B7A42-716C-4C11-A44B-373D4C79DFF8}" srcOrd="0" destOrd="0" parTransId="{7CAD7504-058E-415E-B1BF-8FE1EDD327B7}" sibTransId="{431332E9-BCBA-402B-968C-4D954701ACE5}"/>
    <dgm:cxn modelId="{30551780-CD76-4168-8911-A903C6258A63}" srcId="{8424DC7B-61D0-4B32-9250-D2600E5E661F}" destId="{C45CAB58-00D0-484A-BD5A-4E91A7FBCB76}" srcOrd="6" destOrd="0" parTransId="{1B29F30B-FE38-45AD-8084-7CEE50C87D82}" sibTransId="{C0181B45-3A77-4935-AC53-7F62631E5930}"/>
    <dgm:cxn modelId="{CC8C7A35-EABE-43A0-834C-4341D531833E}" srcId="{8424DC7B-61D0-4B32-9250-D2600E5E661F}" destId="{BF3E57B5-FD08-4624-B73D-E7BA214DCE55}" srcOrd="1" destOrd="0" parTransId="{3AE26608-7BD1-49B2-A8C8-A028BEF9AC42}" sibTransId="{BDCF2982-84EF-4203-BB0C-9D5F316011E3}"/>
    <dgm:cxn modelId="{4ED4C694-E751-4A88-AFBF-C6012DE95F3E}" type="presOf" srcId="{BD3B7A42-716C-4C11-A44B-373D4C79DFF8}" destId="{F98506B9-A2B7-4E21-85A9-E4688E606EE5}" srcOrd="0" destOrd="0" presId="urn:microsoft.com/office/officeart/2005/8/layout/vList3#5"/>
    <dgm:cxn modelId="{64BBEBD3-1087-4BE9-88A3-6BBD851EB459}" srcId="{8424DC7B-61D0-4B32-9250-D2600E5E661F}" destId="{3C0A07DF-ECB7-4F35-A8F2-44152C236417}" srcOrd="2" destOrd="0" parTransId="{A1F80396-9C7B-4C97-93A2-E3F86C87EB86}" sibTransId="{6F4ABD03-84B5-4FD1-80BC-64DEB1B04AEB}"/>
    <dgm:cxn modelId="{91BC5990-3D15-47E4-8BEB-1739EB90F016}" srcId="{8424DC7B-61D0-4B32-9250-D2600E5E661F}" destId="{2D9EFBBA-AAF5-43C6-936E-4AE23FE0DD9C}" srcOrd="5" destOrd="0" parTransId="{0D944B03-5D25-4B33-93F2-423540C0AEAC}" sibTransId="{FFF842C1-58F2-4B6E-99BE-A46EA189DCB8}"/>
    <dgm:cxn modelId="{47DBDAB6-D666-4A39-AEAF-0C6BD31DED51}" type="presOf" srcId="{C45CAB58-00D0-484A-BD5A-4E91A7FBCB76}" destId="{F5A9A23F-C721-4779-BD70-16DAAFF968E9}" srcOrd="0" destOrd="0" presId="urn:microsoft.com/office/officeart/2005/8/layout/vList3#5"/>
    <dgm:cxn modelId="{C412E9F0-1071-477F-A729-8579F7837843}" type="presOf" srcId="{BF3E57B5-FD08-4624-B73D-E7BA214DCE55}" destId="{4E94D776-3AE0-4037-94E9-A0F6957146A3}" srcOrd="0" destOrd="0" presId="urn:microsoft.com/office/officeart/2005/8/layout/vList3#5"/>
    <dgm:cxn modelId="{7CE6F46E-6A53-4163-9D5C-111281A54B67}" srcId="{8424DC7B-61D0-4B32-9250-D2600E5E661F}" destId="{216241E0-54DE-4095-B34B-DF0D312705AD}" srcOrd="4" destOrd="0" parTransId="{2FF7450B-B5DC-46FD-8EFB-F0DFBA442E39}" sibTransId="{08C1BC83-C1A9-4451-BEFB-46FBF7EDC1CF}"/>
    <dgm:cxn modelId="{14956431-54B2-415B-A72B-42CFFA84F9F8}" type="presOf" srcId="{216241E0-54DE-4095-B34B-DF0D312705AD}" destId="{092ECB79-F2D9-4ADE-968D-7CAC081472A0}" srcOrd="0" destOrd="0" presId="urn:microsoft.com/office/officeart/2005/8/layout/vList3#5"/>
    <dgm:cxn modelId="{B4349F33-E209-4801-B24C-03F5631D5633}" type="presOf" srcId="{2D9EFBBA-AAF5-43C6-936E-4AE23FE0DD9C}" destId="{1D10B91D-C43A-46BB-8BA3-6C1AEEBC53CE}" srcOrd="0" destOrd="0" presId="urn:microsoft.com/office/officeart/2005/8/layout/vList3#5"/>
    <dgm:cxn modelId="{4376C57D-FA3D-4BEA-BDD9-528DE8EA0F17}" type="presOf" srcId="{3C0A07DF-ECB7-4F35-A8F2-44152C236417}" destId="{E3BD35FC-5E59-4339-BE07-22819BAADE59}" srcOrd="0" destOrd="0" presId="urn:microsoft.com/office/officeart/2005/8/layout/vList3#5"/>
    <dgm:cxn modelId="{EEF6FD13-A1E3-4CC3-8892-C7537029D03A}" type="presOf" srcId="{5448CEB9-8650-438E-8FB3-C42D0EB69ACA}" destId="{8AB5F03D-5127-4B4F-8781-66AA1653AB7E}" srcOrd="0" destOrd="0" presId="urn:microsoft.com/office/officeart/2005/8/layout/vList3#5"/>
    <dgm:cxn modelId="{DFE17465-2311-4420-B2B7-B4F2172261DD}" srcId="{8424DC7B-61D0-4B32-9250-D2600E5E661F}" destId="{5448CEB9-8650-438E-8FB3-C42D0EB69ACA}" srcOrd="3" destOrd="0" parTransId="{16A69258-7DEA-4922-9BF4-EE42C4975625}" sibTransId="{00E2C79A-ED8B-4AC0-AC58-AE040DA88948}"/>
    <dgm:cxn modelId="{96ECC84C-5C5D-4EEB-8E1D-4C023B69CF48}" type="presOf" srcId="{8424DC7B-61D0-4B32-9250-D2600E5E661F}" destId="{87058BDE-5535-4089-A0AA-1234D7F9F1C3}" srcOrd="0" destOrd="0" presId="urn:microsoft.com/office/officeart/2005/8/layout/vList3#5"/>
    <dgm:cxn modelId="{71718352-175F-4A7E-B8BB-999253A2680B}" type="presParOf" srcId="{87058BDE-5535-4089-A0AA-1234D7F9F1C3}" destId="{C37374C5-9E71-435E-986C-0E164D1B7DB4}" srcOrd="0" destOrd="0" presId="urn:microsoft.com/office/officeart/2005/8/layout/vList3#5"/>
    <dgm:cxn modelId="{69A1DC20-E8B7-4350-97CE-9197D2E2B316}" type="presParOf" srcId="{C37374C5-9E71-435E-986C-0E164D1B7DB4}" destId="{DDC251D1-2F5D-4BC9-B01F-2C8DB20D7805}" srcOrd="0" destOrd="0" presId="urn:microsoft.com/office/officeart/2005/8/layout/vList3#5"/>
    <dgm:cxn modelId="{69E8B9BB-80DF-4EA3-A4C1-5F496DB24FAA}" type="presParOf" srcId="{C37374C5-9E71-435E-986C-0E164D1B7DB4}" destId="{F98506B9-A2B7-4E21-85A9-E4688E606EE5}" srcOrd="1" destOrd="0" presId="urn:microsoft.com/office/officeart/2005/8/layout/vList3#5"/>
    <dgm:cxn modelId="{778497CA-F41C-4092-B97B-368BCF804278}" type="presParOf" srcId="{87058BDE-5535-4089-A0AA-1234D7F9F1C3}" destId="{B24EA26B-E77A-4F8C-96C5-07167FBB00B7}" srcOrd="1" destOrd="0" presId="urn:microsoft.com/office/officeart/2005/8/layout/vList3#5"/>
    <dgm:cxn modelId="{87797F41-872B-47F4-9956-87FD98F30824}" type="presParOf" srcId="{87058BDE-5535-4089-A0AA-1234D7F9F1C3}" destId="{929D0D88-7075-4888-9FE3-91BE5A74DF1C}" srcOrd="2" destOrd="0" presId="urn:microsoft.com/office/officeart/2005/8/layout/vList3#5"/>
    <dgm:cxn modelId="{ED3A2BB9-7B15-45B0-AE0B-AC046E6E0013}" type="presParOf" srcId="{929D0D88-7075-4888-9FE3-91BE5A74DF1C}" destId="{AD7398DF-35D2-4429-9557-67D2E7E0D76C}" srcOrd="0" destOrd="0" presId="urn:microsoft.com/office/officeart/2005/8/layout/vList3#5"/>
    <dgm:cxn modelId="{397DEB45-3FF1-4A55-9008-4A46B909130F}" type="presParOf" srcId="{929D0D88-7075-4888-9FE3-91BE5A74DF1C}" destId="{4E94D776-3AE0-4037-94E9-A0F6957146A3}" srcOrd="1" destOrd="0" presId="urn:microsoft.com/office/officeart/2005/8/layout/vList3#5"/>
    <dgm:cxn modelId="{33BA7E18-11F7-423F-A796-B7C761A1C041}" type="presParOf" srcId="{87058BDE-5535-4089-A0AA-1234D7F9F1C3}" destId="{25F6CC78-26D3-4A73-BE50-284020276647}" srcOrd="3" destOrd="0" presId="urn:microsoft.com/office/officeart/2005/8/layout/vList3#5"/>
    <dgm:cxn modelId="{A1D4DCF6-B8C9-40DA-B53F-6B6D53B4E360}" type="presParOf" srcId="{87058BDE-5535-4089-A0AA-1234D7F9F1C3}" destId="{5C5ECB1C-9842-480D-883B-9E0914F2DE2E}" srcOrd="4" destOrd="0" presId="urn:microsoft.com/office/officeart/2005/8/layout/vList3#5"/>
    <dgm:cxn modelId="{8F432BBE-4104-4C0D-A0CF-D3C66B820ADC}" type="presParOf" srcId="{5C5ECB1C-9842-480D-883B-9E0914F2DE2E}" destId="{2CA1FAD2-92BB-49DC-87A9-66FEDF4C7A11}" srcOrd="0" destOrd="0" presId="urn:microsoft.com/office/officeart/2005/8/layout/vList3#5"/>
    <dgm:cxn modelId="{BFF8EE85-DDDF-4F06-8DC3-364340EE5514}" type="presParOf" srcId="{5C5ECB1C-9842-480D-883B-9E0914F2DE2E}" destId="{E3BD35FC-5E59-4339-BE07-22819BAADE59}" srcOrd="1" destOrd="0" presId="urn:microsoft.com/office/officeart/2005/8/layout/vList3#5"/>
    <dgm:cxn modelId="{07B57662-3BA6-48AA-A480-47E446616B22}" type="presParOf" srcId="{87058BDE-5535-4089-A0AA-1234D7F9F1C3}" destId="{DBC50E3A-C8C7-449F-80E2-9C862D098B95}" srcOrd="5" destOrd="0" presId="urn:microsoft.com/office/officeart/2005/8/layout/vList3#5"/>
    <dgm:cxn modelId="{3A0601C0-6BF2-4C82-B1D5-85F06131C277}" type="presParOf" srcId="{87058BDE-5535-4089-A0AA-1234D7F9F1C3}" destId="{DD1EC1FE-424B-476D-A119-77F04D0CD370}" srcOrd="6" destOrd="0" presId="urn:microsoft.com/office/officeart/2005/8/layout/vList3#5"/>
    <dgm:cxn modelId="{78CF1AF1-5999-49E2-AEF8-B3D4159A5A9E}" type="presParOf" srcId="{DD1EC1FE-424B-476D-A119-77F04D0CD370}" destId="{3376CF8E-261A-4906-A83E-CC3CB1AA16F1}" srcOrd="0" destOrd="0" presId="urn:microsoft.com/office/officeart/2005/8/layout/vList3#5"/>
    <dgm:cxn modelId="{E272D6C3-B3F3-452A-B935-F57AE0963CEB}" type="presParOf" srcId="{DD1EC1FE-424B-476D-A119-77F04D0CD370}" destId="{8AB5F03D-5127-4B4F-8781-66AA1653AB7E}" srcOrd="1" destOrd="0" presId="urn:microsoft.com/office/officeart/2005/8/layout/vList3#5"/>
    <dgm:cxn modelId="{9DA994FC-DFFD-4CED-AD59-2F3751DA2CEC}" type="presParOf" srcId="{87058BDE-5535-4089-A0AA-1234D7F9F1C3}" destId="{963671C7-9FC0-460F-9EE7-9EC05E2546EC}" srcOrd="7" destOrd="0" presId="urn:microsoft.com/office/officeart/2005/8/layout/vList3#5"/>
    <dgm:cxn modelId="{EFABCE99-E505-4C39-BACF-DB4FA58196EE}" type="presParOf" srcId="{87058BDE-5535-4089-A0AA-1234D7F9F1C3}" destId="{F3D82ABC-9063-4447-9B99-5B57F0B1F08F}" srcOrd="8" destOrd="0" presId="urn:microsoft.com/office/officeart/2005/8/layout/vList3#5"/>
    <dgm:cxn modelId="{E02C0009-7A01-4AF6-B671-03C80A11E8B7}" type="presParOf" srcId="{F3D82ABC-9063-4447-9B99-5B57F0B1F08F}" destId="{EAC25227-1C42-49D0-89BD-CCF4E667B392}" srcOrd="0" destOrd="0" presId="urn:microsoft.com/office/officeart/2005/8/layout/vList3#5"/>
    <dgm:cxn modelId="{9A30AED7-501A-47A5-8999-F38DE5A009B0}" type="presParOf" srcId="{F3D82ABC-9063-4447-9B99-5B57F0B1F08F}" destId="{092ECB79-F2D9-4ADE-968D-7CAC081472A0}" srcOrd="1" destOrd="0" presId="urn:microsoft.com/office/officeart/2005/8/layout/vList3#5"/>
    <dgm:cxn modelId="{A9BE979C-B4AD-4E19-8117-F09590684DD6}" type="presParOf" srcId="{87058BDE-5535-4089-A0AA-1234D7F9F1C3}" destId="{F1389DB4-95CE-470F-91D4-C0FD9C079EE8}" srcOrd="9" destOrd="0" presId="urn:microsoft.com/office/officeart/2005/8/layout/vList3#5"/>
    <dgm:cxn modelId="{9790FFE5-77A5-4E43-9D7E-6D31C7F0C7C5}" type="presParOf" srcId="{87058BDE-5535-4089-A0AA-1234D7F9F1C3}" destId="{F172EEB0-7AD0-4053-8545-AB0C615844D7}" srcOrd="10" destOrd="0" presId="urn:microsoft.com/office/officeart/2005/8/layout/vList3#5"/>
    <dgm:cxn modelId="{B87B363E-EE36-415A-8D7A-C9C0F0A2D482}" type="presParOf" srcId="{F172EEB0-7AD0-4053-8545-AB0C615844D7}" destId="{8E8FFB15-7249-41CC-87BE-02FF1CE2CA73}" srcOrd="0" destOrd="0" presId="urn:microsoft.com/office/officeart/2005/8/layout/vList3#5"/>
    <dgm:cxn modelId="{8937C571-A2CC-406E-AB3E-95EA3C434214}" type="presParOf" srcId="{F172EEB0-7AD0-4053-8545-AB0C615844D7}" destId="{1D10B91D-C43A-46BB-8BA3-6C1AEEBC53CE}" srcOrd="1" destOrd="0" presId="urn:microsoft.com/office/officeart/2005/8/layout/vList3#5"/>
    <dgm:cxn modelId="{DF60B916-A35C-4A3A-BB16-C36CD5EAD796}" type="presParOf" srcId="{87058BDE-5535-4089-A0AA-1234D7F9F1C3}" destId="{16EC8316-63F1-49CA-BC0D-34A6AB57CF3B}" srcOrd="11" destOrd="0" presId="urn:microsoft.com/office/officeart/2005/8/layout/vList3#5"/>
    <dgm:cxn modelId="{D0DC2A7A-A06B-46B0-ACCF-F38612B4AC91}" type="presParOf" srcId="{87058BDE-5535-4089-A0AA-1234D7F9F1C3}" destId="{3E3E218C-9F8A-4DD2-A6B4-497CC7EDB507}" srcOrd="12" destOrd="0" presId="urn:microsoft.com/office/officeart/2005/8/layout/vList3#5"/>
    <dgm:cxn modelId="{F4652C7E-5C3B-4D76-9D0B-01C469DDD998}" type="presParOf" srcId="{3E3E218C-9F8A-4DD2-A6B4-497CC7EDB507}" destId="{472A3E97-5AC7-4093-8C5C-CC4F5B343949}" srcOrd="0" destOrd="0" presId="urn:microsoft.com/office/officeart/2005/8/layout/vList3#5"/>
    <dgm:cxn modelId="{7AD02D14-6161-4A8E-8D66-B7D53FA1AE04}" type="presParOf" srcId="{3E3E218C-9F8A-4DD2-A6B4-497CC7EDB507}" destId="{F5A9A23F-C721-4779-BD70-16DAAFF968E9}" srcOrd="1" destOrd="0" presId="urn:microsoft.com/office/officeart/2005/8/layout/vList3#5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6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Czech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 sz="1100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 sz="1100"/>
        </a:p>
      </dgm:t>
    </dgm:pt>
    <dgm:pt modelId="{216241E0-54DE-4095-B34B-DF0D312705AD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Israel</a:t>
          </a:r>
          <a:endParaRPr lang="pt-BR" sz="1100" dirty="0"/>
        </a:p>
      </dgm:t>
    </dgm:pt>
    <dgm:pt modelId="{2FF7450B-B5DC-46FD-8EFB-F0DFBA442E39}" type="parTrans" cxnId="{7CE6F46E-6A53-4163-9D5C-111281A54B67}">
      <dgm:prSet/>
      <dgm:spPr/>
      <dgm:t>
        <a:bodyPr/>
        <a:lstStyle/>
        <a:p>
          <a:endParaRPr lang="pt-BR" sz="1100"/>
        </a:p>
      </dgm:t>
    </dgm:pt>
    <dgm:pt modelId="{08C1BC83-C1A9-4451-BEFB-46FBF7EDC1CF}" type="sibTrans" cxnId="{7CE6F46E-6A53-4163-9D5C-111281A54B67}">
      <dgm:prSet/>
      <dgm:spPr/>
      <dgm:t>
        <a:bodyPr/>
        <a:lstStyle/>
        <a:p>
          <a:endParaRPr lang="pt-BR" sz="1100"/>
        </a:p>
      </dgm:t>
    </dgm:pt>
    <dgm:pt modelId="{2D9EFBBA-AAF5-43C6-936E-4AE23FE0DD9C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Venezuela</a:t>
          </a:r>
          <a:endParaRPr lang="pt-BR" sz="1100" dirty="0"/>
        </a:p>
      </dgm:t>
    </dgm:pt>
    <dgm:pt modelId="{0D944B03-5D25-4B33-93F2-423540C0AEAC}" type="parTrans" cxnId="{91BC5990-3D15-47E4-8BEB-1739EB90F016}">
      <dgm:prSet/>
      <dgm:spPr/>
      <dgm:t>
        <a:bodyPr/>
        <a:lstStyle/>
        <a:p>
          <a:endParaRPr lang="pt-BR" sz="1100"/>
        </a:p>
      </dgm:t>
    </dgm:pt>
    <dgm:pt modelId="{FFF842C1-58F2-4B6E-99BE-A46EA189DCB8}" type="sibTrans" cxnId="{91BC5990-3D15-47E4-8BEB-1739EB90F016}">
      <dgm:prSet/>
      <dgm:spPr/>
      <dgm:t>
        <a:bodyPr/>
        <a:lstStyle/>
        <a:p>
          <a:endParaRPr lang="pt-BR" sz="1100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Egypt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 sz="1100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 sz="1100"/>
        </a:p>
      </dgm:t>
    </dgm:pt>
    <dgm:pt modelId="{BF3E57B5-FD08-4624-B73D-E7BA214DCE55}">
      <dgm:prSet phldrT="[Text]" custT="1"/>
      <dgm:spPr>
        <a:solidFill>
          <a:srgbClr val="0060A8"/>
        </a:solidFill>
      </dgm:spPr>
      <dgm:t>
        <a:bodyPr lIns="396000"/>
        <a:lstStyle/>
        <a:p>
          <a:r>
            <a:rPr lang="pt-BR" sz="1100" dirty="0" smtClean="0"/>
            <a:t>Norway</a:t>
          </a:r>
          <a:endParaRPr lang="pt-BR" sz="1100" dirty="0"/>
        </a:p>
      </dgm:t>
    </dgm:pt>
    <dgm:pt modelId="{BDCF2982-84EF-4203-BB0C-9D5F316011E3}" type="sibTrans" cxnId="{CC8C7A35-EABE-43A0-834C-4341D531833E}">
      <dgm:prSet/>
      <dgm:spPr/>
      <dgm:t>
        <a:bodyPr/>
        <a:lstStyle/>
        <a:p>
          <a:endParaRPr lang="pt-BR" sz="1100"/>
        </a:p>
      </dgm:t>
    </dgm:pt>
    <dgm:pt modelId="{3AE26608-7BD1-49B2-A8C8-A028BEF9AC42}" type="parTrans" cxnId="{CC8C7A35-EABE-43A0-834C-4341D531833E}">
      <dgm:prSet/>
      <dgm:spPr/>
      <dgm:t>
        <a:bodyPr/>
        <a:lstStyle/>
        <a:p>
          <a:endParaRPr lang="pt-BR" sz="1100"/>
        </a:p>
      </dgm:t>
    </dgm:pt>
    <dgm:pt modelId="{FAA4E8A4-A484-45A4-9865-09167E2F04FE}">
      <dgm:prSet phldrT="[Text]" custT="1"/>
      <dgm:spPr>
        <a:solidFill>
          <a:srgbClr val="0060A8"/>
        </a:solidFill>
      </dgm:spPr>
      <dgm:t>
        <a:bodyPr lIns="396000"/>
        <a:lstStyle/>
        <a:p>
          <a:r>
            <a:rPr lang="pt-BR" sz="1100" dirty="0" smtClean="0"/>
            <a:t>Hungary</a:t>
          </a:r>
          <a:endParaRPr lang="pt-BR" sz="1100" dirty="0"/>
        </a:p>
      </dgm:t>
    </dgm:pt>
    <dgm:pt modelId="{0D349530-FA67-44C5-AB2A-D7C46A1F29F1}" type="parTrans" cxnId="{A7332EFB-33FD-4CCF-A6A3-F691B0E6B8C9}">
      <dgm:prSet/>
      <dgm:spPr/>
      <dgm:t>
        <a:bodyPr/>
        <a:lstStyle/>
        <a:p>
          <a:endParaRPr lang="en-US" sz="1100"/>
        </a:p>
      </dgm:t>
    </dgm:pt>
    <dgm:pt modelId="{6A461378-571B-454C-A21B-002DDE53D111}" type="sibTrans" cxnId="{A7332EFB-33FD-4CCF-A6A3-F691B0E6B8C9}">
      <dgm:prSet/>
      <dgm:spPr/>
      <dgm:t>
        <a:bodyPr/>
        <a:lstStyle/>
        <a:p>
          <a:endParaRPr lang="en-US" sz="1100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29D0D88-7075-4888-9FE3-91BE5A74DF1C}" type="pres">
      <dgm:prSet presAssocID="{BF3E57B5-FD08-4624-B73D-E7BA214DCE55}" presName="composite" presStyleCnt="0"/>
      <dgm:spPr/>
    </dgm:pt>
    <dgm:pt modelId="{AD7398DF-35D2-4429-9557-67D2E7E0D76C}" type="pres">
      <dgm:prSet presAssocID="{BF3E57B5-FD08-4624-B73D-E7BA214DCE55}" presName="imgShp" presStyleLbl="fgImgPlace1" presStyleIdx="0" presStyleCnt="6" custScaleX="67842" custScaleY="72863" custLinFactNeighborX="19017" custLinFactNeighborY="89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4E94D776-3AE0-4037-94E9-A0F6957146A3}" type="pres">
      <dgm:prSet presAssocID="{BF3E57B5-FD08-4624-B73D-E7BA214DCE55}" presName="txShp" presStyleLbl="node1" presStyleIdx="0" presStyleCnt="6" custScaleX="112226" custScaleY="8402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25F6CC78-26D3-4A73-BE50-284020276647}" type="pres">
      <dgm:prSet presAssocID="{BDCF2982-84EF-4203-BB0C-9D5F316011E3}" presName="spacing" presStyleCnt="0"/>
      <dgm:spPr/>
    </dgm:pt>
    <dgm:pt modelId="{CAC4E42F-040D-4010-B80E-3FAED60EE93B}" type="pres">
      <dgm:prSet presAssocID="{FAA4E8A4-A484-45A4-9865-09167E2F04FE}" presName="composite" presStyleCnt="0"/>
      <dgm:spPr/>
    </dgm:pt>
    <dgm:pt modelId="{4E2461F5-0275-4405-BE56-E51E3A7A5B03}" type="pres">
      <dgm:prSet presAssocID="{FAA4E8A4-A484-45A4-9865-09167E2F04FE}" presName="imgShp" presStyleLbl="fgImgPlace1" presStyleIdx="1" presStyleCnt="6" custScaleX="67842" custScaleY="72863" custLinFactNeighborX="19017" custLinFactNeighborY="89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BF027DEE-C029-4975-877C-287AEE5DAEC8}" type="pres">
      <dgm:prSet presAssocID="{FAA4E8A4-A484-45A4-9865-09167E2F04FE}" presName="txShp" presStyleLbl="node1" presStyleIdx="1" presStyleCnt="6" custScaleX="112226" custScaleY="84029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en-US"/>
        </a:p>
      </dgm:t>
    </dgm:pt>
    <dgm:pt modelId="{C4F4DBD9-E359-42C3-B0B7-FA0500738F35}" type="pres">
      <dgm:prSet presAssocID="{6A461378-571B-454C-A21B-002DDE53D111}" presName="spacing" presStyleCnt="0"/>
      <dgm:spPr/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2" presStyleCnt="6" custScaleX="67842" custScaleY="72863" custLinFactNeighborX="19017" custLinFactNeighborY="89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2" presStyleCnt="6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F3D82ABC-9063-4447-9B99-5B57F0B1F08F}" type="pres">
      <dgm:prSet presAssocID="{216241E0-54DE-4095-B34B-DF0D312705AD}" presName="composite" presStyleCnt="0"/>
      <dgm:spPr/>
    </dgm:pt>
    <dgm:pt modelId="{EAC25227-1C42-49D0-89BD-CCF4E667B392}" type="pres">
      <dgm:prSet presAssocID="{216241E0-54DE-4095-B34B-DF0D312705AD}" presName="imgShp" presStyleLbl="fgImgPlace1" presStyleIdx="3" presStyleCnt="6" custScaleX="67842" custScaleY="72863" custLinFactNeighborX="19017" custLinFactNeighborY="89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092ECB79-F2D9-4ADE-968D-7CAC081472A0}" type="pres">
      <dgm:prSet presAssocID="{216241E0-54DE-4095-B34B-DF0D312705AD}" presName="txShp" presStyleLbl="node1" presStyleIdx="3" presStyleCnt="6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F1389DB4-95CE-470F-91D4-C0FD9C079EE8}" type="pres">
      <dgm:prSet presAssocID="{08C1BC83-C1A9-4451-BEFB-46FBF7EDC1CF}" presName="spacing" presStyleCnt="0"/>
      <dgm:spPr/>
    </dgm:pt>
    <dgm:pt modelId="{F172EEB0-7AD0-4053-8545-AB0C615844D7}" type="pres">
      <dgm:prSet presAssocID="{2D9EFBBA-AAF5-43C6-936E-4AE23FE0DD9C}" presName="composite" presStyleCnt="0"/>
      <dgm:spPr/>
    </dgm:pt>
    <dgm:pt modelId="{8E8FFB15-7249-41CC-87BE-02FF1CE2CA73}" type="pres">
      <dgm:prSet presAssocID="{2D9EFBBA-AAF5-43C6-936E-4AE23FE0DD9C}" presName="imgShp" presStyleLbl="fgImgPlace1" presStyleIdx="4" presStyleCnt="6" custScaleX="67842" custScaleY="72863" custLinFactNeighborX="19017" custLinFactNeighborY="89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1D10B91D-C43A-46BB-8BA3-6C1AEEBC53CE}" type="pres">
      <dgm:prSet presAssocID="{2D9EFBBA-AAF5-43C6-936E-4AE23FE0DD9C}" presName="txShp" presStyleLbl="node1" presStyleIdx="4" presStyleCnt="6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16EC8316-63F1-49CA-BC0D-34A6AB57CF3B}" type="pres">
      <dgm:prSet presAssocID="{FFF842C1-58F2-4B6E-99BE-A46EA189DCB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5" presStyleCnt="6" custScaleX="67842" custScaleY="72863" custLinFactNeighborX="19017" custLinFactNeighborY="895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5" presStyleCnt="6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</dgm:ptLst>
  <dgm:cxnLst>
    <dgm:cxn modelId="{C1D1FB3E-5246-4107-B88D-D490929DC406}" type="presOf" srcId="{2D9EFBBA-AAF5-43C6-936E-4AE23FE0DD9C}" destId="{1D10B91D-C43A-46BB-8BA3-6C1AEEBC53CE}" srcOrd="0" destOrd="0" presId="urn:microsoft.com/office/officeart/2005/8/layout/vList3#6"/>
    <dgm:cxn modelId="{ED3D0907-8620-4B22-99CC-77CE94C63596}" type="presOf" srcId="{5448CEB9-8650-438E-8FB3-C42D0EB69ACA}" destId="{8AB5F03D-5127-4B4F-8781-66AA1653AB7E}" srcOrd="0" destOrd="0" presId="urn:microsoft.com/office/officeart/2005/8/layout/vList3#6"/>
    <dgm:cxn modelId="{A7332EFB-33FD-4CCF-A6A3-F691B0E6B8C9}" srcId="{8424DC7B-61D0-4B32-9250-D2600E5E661F}" destId="{FAA4E8A4-A484-45A4-9865-09167E2F04FE}" srcOrd="1" destOrd="0" parTransId="{0D349530-FA67-44C5-AB2A-D7C46A1F29F1}" sibTransId="{6A461378-571B-454C-A21B-002DDE53D111}"/>
    <dgm:cxn modelId="{DFE17465-2311-4420-B2B7-B4F2172261DD}" srcId="{8424DC7B-61D0-4B32-9250-D2600E5E661F}" destId="{5448CEB9-8650-438E-8FB3-C42D0EB69ACA}" srcOrd="2" destOrd="0" parTransId="{16A69258-7DEA-4922-9BF4-EE42C4975625}" sibTransId="{00E2C79A-ED8B-4AC0-AC58-AE040DA88948}"/>
    <dgm:cxn modelId="{7CE6F46E-6A53-4163-9D5C-111281A54B67}" srcId="{8424DC7B-61D0-4B32-9250-D2600E5E661F}" destId="{216241E0-54DE-4095-B34B-DF0D312705AD}" srcOrd="3" destOrd="0" parTransId="{2FF7450B-B5DC-46FD-8EFB-F0DFBA442E39}" sibTransId="{08C1BC83-C1A9-4451-BEFB-46FBF7EDC1CF}"/>
    <dgm:cxn modelId="{605AEAAA-E2A7-432D-B6D1-D5B5C57BE042}" type="presOf" srcId="{BF3E57B5-FD08-4624-B73D-E7BA214DCE55}" destId="{4E94D776-3AE0-4037-94E9-A0F6957146A3}" srcOrd="0" destOrd="0" presId="urn:microsoft.com/office/officeart/2005/8/layout/vList3#6"/>
    <dgm:cxn modelId="{CC8C7A35-EABE-43A0-834C-4341D531833E}" srcId="{8424DC7B-61D0-4B32-9250-D2600E5E661F}" destId="{BF3E57B5-FD08-4624-B73D-E7BA214DCE55}" srcOrd="0" destOrd="0" parTransId="{3AE26608-7BD1-49B2-A8C8-A028BEF9AC42}" sibTransId="{BDCF2982-84EF-4203-BB0C-9D5F316011E3}"/>
    <dgm:cxn modelId="{91BC5990-3D15-47E4-8BEB-1739EB90F016}" srcId="{8424DC7B-61D0-4B32-9250-D2600E5E661F}" destId="{2D9EFBBA-AAF5-43C6-936E-4AE23FE0DD9C}" srcOrd="4" destOrd="0" parTransId="{0D944B03-5D25-4B33-93F2-423540C0AEAC}" sibTransId="{FFF842C1-58F2-4B6E-99BE-A46EA189DCB8}"/>
    <dgm:cxn modelId="{CD9F830C-3924-41C2-BD21-6AE110368095}" type="presOf" srcId="{C45CAB58-00D0-484A-BD5A-4E91A7FBCB76}" destId="{F5A9A23F-C721-4779-BD70-16DAAFF968E9}" srcOrd="0" destOrd="0" presId="urn:microsoft.com/office/officeart/2005/8/layout/vList3#6"/>
    <dgm:cxn modelId="{30551780-CD76-4168-8911-A903C6258A63}" srcId="{8424DC7B-61D0-4B32-9250-D2600E5E661F}" destId="{C45CAB58-00D0-484A-BD5A-4E91A7FBCB76}" srcOrd="5" destOrd="0" parTransId="{1B29F30B-FE38-45AD-8084-7CEE50C87D82}" sibTransId="{C0181B45-3A77-4935-AC53-7F62631E5930}"/>
    <dgm:cxn modelId="{AF6360F6-63F6-45F6-B650-2F64D451AAEF}" type="presOf" srcId="{8424DC7B-61D0-4B32-9250-D2600E5E661F}" destId="{87058BDE-5535-4089-A0AA-1234D7F9F1C3}" srcOrd="0" destOrd="0" presId="urn:microsoft.com/office/officeart/2005/8/layout/vList3#6"/>
    <dgm:cxn modelId="{0BC75844-6E99-49B8-BC62-4E206462BAE4}" type="presOf" srcId="{216241E0-54DE-4095-B34B-DF0D312705AD}" destId="{092ECB79-F2D9-4ADE-968D-7CAC081472A0}" srcOrd="0" destOrd="0" presId="urn:microsoft.com/office/officeart/2005/8/layout/vList3#6"/>
    <dgm:cxn modelId="{DE3A0301-61CD-4B56-B695-360D537266D2}" type="presOf" srcId="{FAA4E8A4-A484-45A4-9865-09167E2F04FE}" destId="{BF027DEE-C029-4975-877C-287AEE5DAEC8}" srcOrd="0" destOrd="0" presId="urn:microsoft.com/office/officeart/2005/8/layout/vList3#6"/>
    <dgm:cxn modelId="{308384DE-4FD4-406A-B6C4-CB71112EB961}" type="presParOf" srcId="{87058BDE-5535-4089-A0AA-1234D7F9F1C3}" destId="{929D0D88-7075-4888-9FE3-91BE5A74DF1C}" srcOrd="0" destOrd="0" presId="urn:microsoft.com/office/officeart/2005/8/layout/vList3#6"/>
    <dgm:cxn modelId="{50B43233-7C55-4737-A7E1-FD607F3E1EE4}" type="presParOf" srcId="{929D0D88-7075-4888-9FE3-91BE5A74DF1C}" destId="{AD7398DF-35D2-4429-9557-67D2E7E0D76C}" srcOrd="0" destOrd="0" presId="urn:microsoft.com/office/officeart/2005/8/layout/vList3#6"/>
    <dgm:cxn modelId="{90B4D838-C777-4CD1-98E1-669DD72CF81A}" type="presParOf" srcId="{929D0D88-7075-4888-9FE3-91BE5A74DF1C}" destId="{4E94D776-3AE0-4037-94E9-A0F6957146A3}" srcOrd="1" destOrd="0" presId="urn:microsoft.com/office/officeart/2005/8/layout/vList3#6"/>
    <dgm:cxn modelId="{C6C026E1-B35E-449F-8B6D-DE30D52ED668}" type="presParOf" srcId="{87058BDE-5535-4089-A0AA-1234D7F9F1C3}" destId="{25F6CC78-26D3-4A73-BE50-284020276647}" srcOrd="1" destOrd="0" presId="urn:microsoft.com/office/officeart/2005/8/layout/vList3#6"/>
    <dgm:cxn modelId="{C3995074-C2B6-45CA-A71E-DE39797F0569}" type="presParOf" srcId="{87058BDE-5535-4089-A0AA-1234D7F9F1C3}" destId="{CAC4E42F-040D-4010-B80E-3FAED60EE93B}" srcOrd="2" destOrd="0" presId="urn:microsoft.com/office/officeart/2005/8/layout/vList3#6"/>
    <dgm:cxn modelId="{B5B0650E-19DF-4F5E-8451-540B2AF8CAA2}" type="presParOf" srcId="{CAC4E42F-040D-4010-B80E-3FAED60EE93B}" destId="{4E2461F5-0275-4405-BE56-E51E3A7A5B03}" srcOrd="0" destOrd="0" presId="urn:microsoft.com/office/officeart/2005/8/layout/vList3#6"/>
    <dgm:cxn modelId="{3CD6DE39-EA40-47A1-81D1-EE40149E31E7}" type="presParOf" srcId="{CAC4E42F-040D-4010-B80E-3FAED60EE93B}" destId="{BF027DEE-C029-4975-877C-287AEE5DAEC8}" srcOrd="1" destOrd="0" presId="urn:microsoft.com/office/officeart/2005/8/layout/vList3#6"/>
    <dgm:cxn modelId="{1477652E-F38C-41CC-B22E-ABBFD9EC952A}" type="presParOf" srcId="{87058BDE-5535-4089-A0AA-1234D7F9F1C3}" destId="{C4F4DBD9-E359-42C3-B0B7-FA0500738F35}" srcOrd="3" destOrd="0" presId="urn:microsoft.com/office/officeart/2005/8/layout/vList3#6"/>
    <dgm:cxn modelId="{95032692-71D0-4F2A-911E-0EDEB7888DEF}" type="presParOf" srcId="{87058BDE-5535-4089-A0AA-1234D7F9F1C3}" destId="{DD1EC1FE-424B-476D-A119-77F04D0CD370}" srcOrd="4" destOrd="0" presId="urn:microsoft.com/office/officeart/2005/8/layout/vList3#6"/>
    <dgm:cxn modelId="{7B14422E-B92C-4544-B09C-3E6156B12DA3}" type="presParOf" srcId="{DD1EC1FE-424B-476D-A119-77F04D0CD370}" destId="{3376CF8E-261A-4906-A83E-CC3CB1AA16F1}" srcOrd="0" destOrd="0" presId="urn:microsoft.com/office/officeart/2005/8/layout/vList3#6"/>
    <dgm:cxn modelId="{D92DC79C-55F9-4A7B-81F8-FA90899670AE}" type="presParOf" srcId="{DD1EC1FE-424B-476D-A119-77F04D0CD370}" destId="{8AB5F03D-5127-4B4F-8781-66AA1653AB7E}" srcOrd="1" destOrd="0" presId="urn:microsoft.com/office/officeart/2005/8/layout/vList3#6"/>
    <dgm:cxn modelId="{CE9B3533-CC42-4546-8199-36CCBB790D90}" type="presParOf" srcId="{87058BDE-5535-4089-A0AA-1234D7F9F1C3}" destId="{963671C7-9FC0-460F-9EE7-9EC05E2546EC}" srcOrd="5" destOrd="0" presId="urn:microsoft.com/office/officeart/2005/8/layout/vList3#6"/>
    <dgm:cxn modelId="{86E50F80-6444-4595-A598-6AE8F390D1CF}" type="presParOf" srcId="{87058BDE-5535-4089-A0AA-1234D7F9F1C3}" destId="{F3D82ABC-9063-4447-9B99-5B57F0B1F08F}" srcOrd="6" destOrd="0" presId="urn:microsoft.com/office/officeart/2005/8/layout/vList3#6"/>
    <dgm:cxn modelId="{1EFDB67A-4ED6-4D67-BC5C-65A3B1CFD006}" type="presParOf" srcId="{F3D82ABC-9063-4447-9B99-5B57F0B1F08F}" destId="{EAC25227-1C42-49D0-89BD-CCF4E667B392}" srcOrd="0" destOrd="0" presId="urn:microsoft.com/office/officeart/2005/8/layout/vList3#6"/>
    <dgm:cxn modelId="{469E66B1-6C8D-499C-9B36-A618FFE3B834}" type="presParOf" srcId="{F3D82ABC-9063-4447-9B99-5B57F0B1F08F}" destId="{092ECB79-F2D9-4ADE-968D-7CAC081472A0}" srcOrd="1" destOrd="0" presId="urn:microsoft.com/office/officeart/2005/8/layout/vList3#6"/>
    <dgm:cxn modelId="{AE66A6A6-0932-4857-B132-E261D2CC46E7}" type="presParOf" srcId="{87058BDE-5535-4089-A0AA-1234D7F9F1C3}" destId="{F1389DB4-95CE-470F-91D4-C0FD9C079EE8}" srcOrd="7" destOrd="0" presId="urn:microsoft.com/office/officeart/2005/8/layout/vList3#6"/>
    <dgm:cxn modelId="{BCCE8EFC-9A46-4BDE-987E-E4D7D5F50DAD}" type="presParOf" srcId="{87058BDE-5535-4089-A0AA-1234D7F9F1C3}" destId="{F172EEB0-7AD0-4053-8545-AB0C615844D7}" srcOrd="8" destOrd="0" presId="urn:microsoft.com/office/officeart/2005/8/layout/vList3#6"/>
    <dgm:cxn modelId="{AE51A8F1-7A65-4DBA-97D8-003365645373}" type="presParOf" srcId="{F172EEB0-7AD0-4053-8545-AB0C615844D7}" destId="{8E8FFB15-7249-41CC-87BE-02FF1CE2CA73}" srcOrd="0" destOrd="0" presId="urn:microsoft.com/office/officeart/2005/8/layout/vList3#6"/>
    <dgm:cxn modelId="{ADF33D99-7E4B-4EE7-8FE0-6550C1A3A291}" type="presParOf" srcId="{F172EEB0-7AD0-4053-8545-AB0C615844D7}" destId="{1D10B91D-C43A-46BB-8BA3-6C1AEEBC53CE}" srcOrd="1" destOrd="0" presId="urn:microsoft.com/office/officeart/2005/8/layout/vList3#6"/>
    <dgm:cxn modelId="{A759321B-F403-4D9F-B714-FAEC437E1780}" type="presParOf" srcId="{87058BDE-5535-4089-A0AA-1234D7F9F1C3}" destId="{16EC8316-63F1-49CA-BC0D-34A6AB57CF3B}" srcOrd="9" destOrd="0" presId="urn:microsoft.com/office/officeart/2005/8/layout/vList3#6"/>
    <dgm:cxn modelId="{BCDBA936-56FC-40C5-AD6E-FFA41BD6D3D6}" type="presParOf" srcId="{87058BDE-5535-4089-A0AA-1234D7F9F1C3}" destId="{3E3E218C-9F8A-4DD2-A6B4-497CC7EDB507}" srcOrd="10" destOrd="0" presId="urn:microsoft.com/office/officeart/2005/8/layout/vList3#6"/>
    <dgm:cxn modelId="{00902850-6B2E-40E9-848A-9B254091F9F3}" type="presParOf" srcId="{3E3E218C-9F8A-4DD2-A6B4-497CC7EDB507}" destId="{472A3E97-5AC7-4093-8C5C-CC4F5B343949}" srcOrd="0" destOrd="0" presId="urn:microsoft.com/office/officeart/2005/8/layout/vList3#6"/>
    <dgm:cxn modelId="{5FC353B2-7A82-44D0-B88B-EA19D4E1451D}" type="presParOf" srcId="{3E3E218C-9F8A-4DD2-A6B4-497CC7EDB507}" destId="{F5A9A23F-C721-4779-BD70-16DAAFF968E9}" srcOrd="1" destOrd="0" presId="urn:microsoft.com/office/officeart/2005/8/layout/vList3#6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424DC7B-61D0-4B32-9250-D2600E5E661F}" type="doc">
      <dgm:prSet loTypeId="urn:microsoft.com/office/officeart/2005/8/layout/vList3#6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448CEB9-8650-438E-8FB3-C42D0EB69ACA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Pakistan</a:t>
          </a:r>
          <a:endParaRPr lang="pt-BR" sz="1100" dirty="0"/>
        </a:p>
      </dgm:t>
    </dgm:pt>
    <dgm:pt modelId="{16A69258-7DEA-4922-9BF4-EE42C4975625}" type="parTrans" cxnId="{DFE17465-2311-4420-B2B7-B4F2172261DD}">
      <dgm:prSet/>
      <dgm:spPr/>
      <dgm:t>
        <a:bodyPr/>
        <a:lstStyle/>
        <a:p>
          <a:endParaRPr lang="pt-BR" sz="1100"/>
        </a:p>
      </dgm:t>
    </dgm:pt>
    <dgm:pt modelId="{00E2C79A-ED8B-4AC0-AC58-AE040DA88948}" type="sibTrans" cxnId="{DFE17465-2311-4420-B2B7-B4F2172261DD}">
      <dgm:prSet/>
      <dgm:spPr/>
      <dgm:t>
        <a:bodyPr/>
        <a:lstStyle/>
        <a:p>
          <a:endParaRPr lang="pt-BR" sz="1100"/>
        </a:p>
      </dgm:t>
    </dgm:pt>
    <dgm:pt modelId="{216241E0-54DE-4095-B34B-DF0D312705AD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Belgium</a:t>
          </a:r>
          <a:endParaRPr lang="pt-BR" sz="1100" dirty="0"/>
        </a:p>
      </dgm:t>
    </dgm:pt>
    <dgm:pt modelId="{2FF7450B-B5DC-46FD-8EFB-F0DFBA442E39}" type="parTrans" cxnId="{7CE6F46E-6A53-4163-9D5C-111281A54B67}">
      <dgm:prSet/>
      <dgm:spPr/>
      <dgm:t>
        <a:bodyPr/>
        <a:lstStyle/>
        <a:p>
          <a:endParaRPr lang="pt-BR" sz="1100"/>
        </a:p>
      </dgm:t>
    </dgm:pt>
    <dgm:pt modelId="{08C1BC83-C1A9-4451-BEFB-46FBF7EDC1CF}" type="sibTrans" cxnId="{7CE6F46E-6A53-4163-9D5C-111281A54B67}">
      <dgm:prSet/>
      <dgm:spPr/>
      <dgm:t>
        <a:bodyPr/>
        <a:lstStyle/>
        <a:p>
          <a:endParaRPr lang="pt-BR" sz="1100"/>
        </a:p>
      </dgm:t>
    </dgm:pt>
    <dgm:pt modelId="{2D9EFBBA-AAF5-43C6-936E-4AE23FE0DD9C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Poland</a:t>
          </a:r>
          <a:endParaRPr lang="pt-BR" sz="1100" dirty="0"/>
        </a:p>
      </dgm:t>
    </dgm:pt>
    <dgm:pt modelId="{0D944B03-5D25-4B33-93F2-423540C0AEAC}" type="parTrans" cxnId="{91BC5990-3D15-47E4-8BEB-1739EB90F016}">
      <dgm:prSet/>
      <dgm:spPr/>
      <dgm:t>
        <a:bodyPr/>
        <a:lstStyle/>
        <a:p>
          <a:endParaRPr lang="pt-BR" sz="1100"/>
        </a:p>
      </dgm:t>
    </dgm:pt>
    <dgm:pt modelId="{FFF842C1-58F2-4B6E-99BE-A46EA189DCB8}" type="sibTrans" cxnId="{91BC5990-3D15-47E4-8BEB-1739EB90F016}">
      <dgm:prSet/>
      <dgm:spPr/>
      <dgm:t>
        <a:bodyPr/>
        <a:lstStyle/>
        <a:p>
          <a:endParaRPr lang="pt-BR" sz="1100"/>
        </a:p>
      </dgm:t>
    </dgm:pt>
    <dgm:pt modelId="{C45CAB58-00D0-484A-BD5A-4E91A7FBCB76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Kuwait</a:t>
          </a:r>
          <a:endParaRPr lang="pt-BR" sz="1100" dirty="0"/>
        </a:p>
      </dgm:t>
    </dgm:pt>
    <dgm:pt modelId="{1B29F30B-FE38-45AD-8084-7CEE50C87D82}" type="parTrans" cxnId="{30551780-CD76-4168-8911-A903C6258A63}">
      <dgm:prSet/>
      <dgm:spPr/>
      <dgm:t>
        <a:bodyPr/>
        <a:lstStyle/>
        <a:p>
          <a:endParaRPr lang="pt-BR" sz="1100"/>
        </a:p>
      </dgm:t>
    </dgm:pt>
    <dgm:pt modelId="{C0181B45-3A77-4935-AC53-7F62631E5930}" type="sibTrans" cxnId="{30551780-CD76-4168-8911-A903C6258A63}">
      <dgm:prSet/>
      <dgm:spPr/>
      <dgm:t>
        <a:bodyPr/>
        <a:lstStyle/>
        <a:p>
          <a:endParaRPr lang="pt-BR" sz="1100"/>
        </a:p>
      </dgm:t>
    </dgm:pt>
    <dgm:pt modelId="{178E99A3-16B9-4994-A6A4-87D3CB6DAEF8}">
      <dgm:prSet phldrT="[Text]" custT="1"/>
      <dgm:spPr>
        <a:solidFill>
          <a:srgbClr val="0060A8"/>
        </a:solidFill>
      </dgm:spPr>
      <dgm:t>
        <a:bodyPr lIns="468000" rIns="64800"/>
        <a:lstStyle/>
        <a:p>
          <a:r>
            <a:rPr lang="pt-BR" sz="1100" dirty="0" smtClean="0"/>
            <a:t>Romania</a:t>
          </a:r>
          <a:endParaRPr lang="pt-BR" sz="1100" dirty="0"/>
        </a:p>
      </dgm:t>
    </dgm:pt>
    <dgm:pt modelId="{0AA33D00-D933-4989-ADE5-E8A3678F5C7C}" type="parTrans" cxnId="{EAD71EB8-7FD6-4025-9493-831874C85979}">
      <dgm:prSet/>
      <dgm:spPr/>
      <dgm:t>
        <a:bodyPr/>
        <a:lstStyle/>
        <a:p>
          <a:endParaRPr lang="pt-BR" sz="1100"/>
        </a:p>
      </dgm:t>
    </dgm:pt>
    <dgm:pt modelId="{3C34A19D-506D-46DA-A397-30F0395A497C}" type="sibTrans" cxnId="{EAD71EB8-7FD6-4025-9493-831874C85979}">
      <dgm:prSet/>
      <dgm:spPr/>
      <dgm:t>
        <a:bodyPr/>
        <a:lstStyle/>
        <a:p>
          <a:endParaRPr lang="pt-BR" sz="1100"/>
        </a:p>
      </dgm:t>
    </dgm:pt>
    <dgm:pt modelId="{87058BDE-5535-4089-A0AA-1234D7F9F1C3}" type="pres">
      <dgm:prSet presAssocID="{8424DC7B-61D0-4B32-9250-D2600E5E661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DD1EC1FE-424B-476D-A119-77F04D0CD370}" type="pres">
      <dgm:prSet presAssocID="{5448CEB9-8650-438E-8FB3-C42D0EB69ACA}" presName="composite" presStyleCnt="0"/>
      <dgm:spPr/>
    </dgm:pt>
    <dgm:pt modelId="{3376CF8E-261A-4906-A83E-CC3CB1AA16F1}" type="pres">
      <dgm:prSet presAssocID="{5448CEB9-8650-438E-8FB3-C42D0EB69ACA}" presName="imgShp" presStyleLbl="fgImgPlace1" presStyleIdx="0" presStyleCnt="5" custScaleX="67842" custScaleY="72863" custLinFactNeighborX="19017" custLinFactNeighborY="89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8AB5F03D-5127-4B4F-8781-66AA1653AB7E}" type="pres">
      <dgm:prSet presAssocID="{5448CEB9-8650-438E-8FB3-C42D0EB69ACA}" presName="txShp" presStyleLbl="node1" presStyleIdx="0" presStyleCnt="5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963671C7-9FC0-460F-9EE7-9EC05E2546EC}" type="pres">
      <dgm:prSet presAssocID="{00E2C79A-ED8B-4AC0-AC58-AE040DA88948}" presName="spacing" presStyleCnt="0"/>
      <dgm:spPr/>
    </dgm:pt>
    <dgm:pt modelId="{F3D82ABC-9063-4447-9B99-5B57F0B1F08F}" type="pres">
      <dgm:prSet presAssocID="{216241E0-54DE-4095-B34B-DF0D312705AD}" presName="composite" presStyleCnt="0"/>
      <dgm:spPr/>
    </dgm:pt>
    <dgm:pt modelId="{EAC25227-1C42-49D0-89BD-CCF4E667B392}" type="pres">
      <dgm:prSet presAssocID="{216241E0-54DE-4095-B34B-DF0D312705AD}" presName="imgShp" presStyleLbl="fgImgPlace1" presStyleIdx="1" presStyleCnt="5" custScaleX="67842" custScaleY="72863" custLinFactNeighborX="19017" custLinFactNeighborY="89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092ECB79-F2D9-4ADE-968D-7CAC081472A0}" type="pres">
      <dgm:prSet presAssocID="{216241E0-54DE-4095-B34B-DF0D312705AD}" presName="txShp" presStyleLbl="node1" presStyleIdx="1" presStyleCnt="5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F1389DB4-95CE-470F-91D4-C0FD9C079EE8}" type="pres">
      <dgm:prSet presAssocID="{08C1BC83-C1A9-4451-BEFB-46FBF7EDC1CF}" presName="spacing" presStyleCnt="0"/>
      <dgm:spPr/>
    </dgm:pt>
    <dgm:pt modelId="{F172EEB0-7AD0-4053-8545-AB0C615844D7}" type="pres">
      <dgm:prSet presAssocID="{2D9EFBBA-AAF5-43C6-936E-4AE23FE0DD9C}" presName="composite" presStyleCnt="0"/>
      <dgm:spPr/>
    </dgm:pt>
    <dgm:pt modelId="{8E8FFB15-7249-41CC-87BE-02FF1CE2CA73}" type="pres">
      <dgm:prSet presAssocID="{2D9EFBBA-AAF5-43C6-936E-4AE23FE0DD9C}" presName="imgShp" presStyleLbl="fgImgPlace1" presStyleIdx="2" presStyleCnt="5" custScaleX="67842" custScaleY="72863" custLinFactNeighborX="19017" custLinFactNeighborY="89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1D10B91D-C43A-46BB-8BA3-6C1AEEBC53CE}" type="pres">
      <dgm:prSet presAssocID="{2D9EFBBA-AAF5-43C6-936E-4AE23FE0DD9C}" presName="txShp" presStyleLbl="node1" presStyleIdx="2" presStyleCnt="5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16EC8316-63F1-49CA-BC0D-34A6AB57CF3B}" type="pres">
      <dgm:prSet presAssocID="{FFF842C1-58F2-4B6E-99BE-A46EA189DCB8}" presName="spacing" presStyleCnt="0"/>
      <dgm:spPr/>
    </dgm:pt>
    <dgm:pt modelId="{3E3E218C-9F8A-4DD2-A6B4-497CC7EDB507}" type="pres">
      <dgm:prSet presAssocID="{C45CAB58-00D0-484A-BD5A-4E91A7FBCB76}" presName="composite" presStyleCnt="0"/>
      <dgm:spPr/>
    </dgm:pt>
    <dgm:pt modelId="{472A3E97-5AC7-4093-8C5C-CC4F5B343949}" type="pres">
      <dgm:prSet presAssocID="{C45CAB58-00D0-484A-BD5A-4E91A7FBCB76}" presName="imgShp" presStyleLbl="fgImgPlace1" presStyleIdx="3" presStyleCnt="5" custScaleX="67842" custScaleY="72863" custLinFactNeighborX="19017" custLinFactNeighborY="89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F5A9A23F-C721-4779-BD70-16DAAFF968E9}" type="pres">
      <dgm:prSet presAssocID="{C45CAB58-00D0-484A-BD5A-4E91A7FBCB76}" presName="txShp" presStyleLbl="node1" presStyleIdx="3" presStyleCnt="5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  <dgm:pt modelId="{021ECEBE-A334-4342-A00F-133F51F25673}" type="pres">
      <dgm:prSet presAssocID="{C0181B45-3A77-4935-AC53-7F62631E5930}" presName="spacing" presStyleCnt="0"/>
      <dgm:spPr/>
    </dgm:pt>
    <dgm:pt modelId="{267D8A28-12C0-4084-8386-3AEB5F1696FA}" type="pres">
      <dgm:prSet presAssocID="{178E99A3-16B9-4994-A6A4-87D3CB6DAEF8}" presName="composite" presStyleCnt="0"/>
      <dgm:spPr/>
    </dgm:pt>
    <dgm:pt modelId="{80055D65-0E23-405E-A3F7-A767BCABD384}" type="pres">
      <dgm:prSet presAssocID="{178E99A3-16B9-4994-A6A4-87D3CB6DAEF8}" presName="imgShp" presStyleLbl="fgImgPlace1" presStyleIdx="4" presStyleCnt="5" custScaleX="67842" custScaleY="72863" custLinFactNeighborX="19017" custLinFactNeighborY="89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95854B4E-F91C-4772-9068-EF188564CC05}" type="pres">
      <dgm:prSet presAssocID="{178E99A3-16B9-4994-A6A4-87D3CB6DAEF8}" presName="txShp" presStyleLbl="node1" presStyleIdx="4" presStyleCnt="5" custScaleX="118966" custScaleY="71073">
        <dgm:presLayoutVars>
          <dgm:bulletEnabled val="1"/>
        </dgm:presLayoutVars>
      </dgm:prSet>
      <dgm:spPr>
        <a:prstGeom prst="flowChartProcess">
          <a:avLst/>
        </a:prstGeom>
      </dgm:spPr>
      <dgm:t>
        <a:bodyPr/>
        <a:lstStyle/>
        <a:p>
          <a:endParaRPr lang="pt-BR"/>
        </a:p>
      </dgm:t>
    </dgm:pt>
  </dgm:ptLst>
  <dgm:cxnLst>
    <dgm:cxn modelId="{1449786C-C8EA-4D08-B975-D6BAC3693AE8}" type="presOf" srcId="{2D9EFBBA-AAF5-43C6-936E-4AE23FE0DD9C}" destId="{1D10B91D-C43A-46BB-8BA3-6C1AEEBC53CE}" srcOrd="0" destOrd="0" presId="urn:microsoft.com/office/officeart/2005/8/layout/vList3#6"/>
    <dgm:cxn modelId="{E2EF9D5F-DFEE-4B5F-87FD-5A84C4DB319B}" type="presOf" srcId="{216241E0-54DE-4095-B34B-DF0D312705AD}" destId="{092ECB79-F2D9-4ADE-968D-7CAC081472A0}" srcOrd="0" destOrd="0" presId="urn:microsoft.com/office/officeart/2005/8/layout/vList3#6"/>
    <dgm:cxn modelId="{97F98DC5-A820-4396-BC71-D6DB8D977295}" type="presOf" srcId="{C45CAB58-00D0-484A-BD5A-4E91A7FBCB76}" destId="{F5A9A23F-C721-4779-BD70-16DAAFF968E9}" srcOrd="0" destOrd="0" presId="urn:microsoft.com/office/officeart/2005/8/layout/vList3#6"/>
    <dgm:cxn modelId="{9F2715E0-3055-48DD-A906-7103792A6ED8}" type="presOf" srcId="{8424DC7B-61D0-4B32-9250-D2600E5E661F}" destId="{87058BDE-5535-4089-A0AA-1234D7F9F1C3}" srcOrd="0" destOrd="0" presId="urn:microsoft.com/office/officeart/2005/8/layout/vList3#6"/>
    <dgm:cxn modelId="{EAD71EB8-7FD6-4025-9493-831874C85979}" srcId="{8424DC7B-61D0-4B32-9250-D2600E5E661F}" destId="{178E99A3-16B9-4994-A6A4-87D3CB6DAEF8}" srcOrd="4" destOrd="0" parTransId="{0AA33D00-D933-4989-ADE5-E8A3678F5C7C}" sibTransId="{3C34A19D-506D-46DA-A397-30F0395A497C}"/>
    <dgm:cxn modelId="{DFE17465-2311-4420-B2B7-B4F2172261DD}" srcId="{8424DC7B-61D0-4B32-9250-D2600E5E661F}" destId="{5448CEB9-8650-438E-8FB3-C42D0EB69ACA}" srcOrd="0" destOrd="0" parTransId="{16A69258-7DEA-4922-9BF4-EE42C4975625}" sibTransId="{00E2C79A-ED8B-4AC0-AC58-AE040DA88948}"/>
    <dgm:cxn modelId="{7CE6F46E-6A53-4163-9D5C-111281A54B67}" srcId="{8424DC7B-61D0-4B32-9250-D2600E5E661F}" destId="{216241E0-54DE-4095-B34B-DF0D312705AD}" srcOrd="1" destOrd="0" parTransId="{2FF7450B-B5DC-46FD-8EFB-F0DFBA442E39}" sibTransId="{08C1BC83-C1A9-4451-BEFB-46FBF7EDC1CF}"/>
    <dgm:cxn modelId="{745DEA10-0B79-4C2D-888A-C6E6D52206FE}" type="presOf" srcId="{5448CEB9-8650-438E-8FB3-C42D0EB69ACA}" destId="{8AB5F03D-5127-4B4F-8781-66AA1653AB7E}" srcOrd="0" destOrd="0" presId="urn:microsoft.com/office/officeart/2005/8/layout/vList3#6"/>
    <dgm:cxn modelId="{91BC5990-3D15-47E4-8BEB-1739EB90F016}" srcId="{8424DC7B-61D0-4B32-9250-D2600E5E661F}" destId="{2D9EFBBA-AAF5-43C6-936E-4AE23FE0DD9C}" srcOrd="2" destOrd="0" parTransId="{0D944B03-5D25-4B33-93F2-423540C0AEAC}" sibTransId="{FFF842C1-58F2-4B6E-99BE-A46EA189DCB8}"/>
    <dgm:cxn modelId="{30551780-CD76-4168-8911-A903C6258A63}" srcId="{8424DC7B-61D0-4B32-9250-D2600E5E661F}" destId="{C45CAB58-00D0-484A-BD5A-4E91A7FBCB76}" srcOrd="3" destOrd="0" parTransId="{1B29F30B-FE38-45AD-8084-7CEE50C87D82}" sibTransId="{C0181B45-3A77-4935-AC53-7F62631E5930}"/>
    <dgm:cxn modelId="{BA2834E3-09A4-4514-8CA4-A1EF2C246FD6}" type="presOf" srcId="{178E99A3-16B9-4994-A6A4-87D3CB6DAEF8}" destId="{95854B4E-F91C-4772-9068-EF188564CC05}" srcOrd="0" destOrd="0" presId="urn:microsoft.com/office/officeart/2005/8/layout/vList3#6"/>
    <dgm:cxn modelId="{8FDB999C-7383-4C92-B7F5-DCD6C4BFD979}" type="presParOf" srcId="{87058BDE-5535-4089-A0AA-1234D7F9F1C3}" destId="{DD1EC1FE-424B-476D-A119-77F04D0CD370}" srcOrd="0" destOrd="0" presId="urn:microsoft.com/office/officeart/2005/8/layout/vList3#6"/>
    <dgm:cxn modelId="{C63A4F18-382B-4A7E-84E7-47E14C076476}" type="presParOf" srcId="{DD1EC1FE-424B-476D-A119-77F04D0CD370}" destId="{3376CF8E-261A-4906-A83E-CC3CB1AA16F1}" srcOrd="0" destOrd="0" presId="urn:microsoft.com/office/officeart/2005/8/layout/vList3#6"/>
    <dgm:cxn modelId="{A03D1C31-2236-4D47-8601-C888E0A932DE}" type="presParOf" srcId="{DD1EC1FE-424B-476D-A119-77F04D0CD370}" destId="{8AB5F03D-5127-4B4F-8781-66AA1653AB7E}" srcOrd="1" destOrd="0" presId="urn:microsoft.com/office/officeart/2005/8/layout/vList3#6"/>
    <dgm:cxn modelId="{7A65E459-E674-46B4-A1AF-81ED6652AB84}" type="presParOf" srcId="{87058BDE-5535-4089-A0AA-1234D7F9F1C3}" destId="{963671C7-9FC0-460F-9EE7-9EC05E2546EC}" srcOrd="1" destOrd="0" presId="urn:microsoft.com/office/officeart/2005/8/layout/vList3#6"/>
    <dgm:cxn modelId="{9F9829E5-8E57-4E89-B279-475B68A5DD50}" type="presParOf" srcId="{87058BDE-5535-4089-A0AA-1234D7F9F1C3}" destId="{F3D82ABC-9063-4447-9B99-5B57F0B1F08F}" srcOrd="2" destOrd="0" presId="urn:microsoft.com/office/officeart/2005/8/layout/vList3#6"/>
    <dgm:cxn modelId="{974B6D6C-9A6F-43DB-BFD9-D8CC067321EA}" type="presParOf" srcId="{F3D82ABC-9063-4447-9B99-5B57F0B1F08F}" destId="{EAC25227-1C42-49D0-89BD-CCF4E667B392}" srcOrd="0" destOrd="0" presId="urn:microsoft.com/office/officeart/2005/8/layout/vList3#6"/>
    <dgm:cxn modelId="{CDA81997-66FE-49E8-A5CA-D57793D0FEA3}" type="presParOf" srcId="{F3D82ABC-9063-4447-9B99-5B57F0B1F08F}" destId="{092ECB79-F2D9-4ADE-968D-7CAC081472A0}" srcOrd="1" destOrd="0" presId="urn:microsoft.com/office/officeart/2005/8/layout/vList3#6"/>
    <dgm:cxn modelId="{7E06C731-12C5-4C2D-B8EF-F13F23612734}" type="presParOf" srcId="{87058BDE-5535-4089-A0AA-1234D7F9F1C3}" destId="{F1389DB4-95CE-470F-91D4-C0FD9C079EE8}" srcOrd="3" destOrd="0" presId="urn:microsoft.com/office/officeart/2005/8/layout/vList3#6"/>
    <dgm:cxn modelId="{41B85058-F8E8-40F1-A9A7-6EA84D77952D}" type="presParOf" srcId="{87058BDE-5535-4089-A0AA-1234D7F9F1C3}" destId="{F172EEB0-7AD0-4053-8545-AB0C615844D7}" srcOrd="4" destOrd="0" presId="urn:microsoft.com/office/officeart/2005/8/layout/vList3#6"/>
    <dgm:cxn modelId="{A5AC741C-38CD-499C-9CAD-7F0D6B9CF7CC}" type="presParOf" srcId="{F172EEB0-7AD0-4053-8545-AB0C615844D7}" destId="{8E8FFB15-7249-41CC-87BE-02FF1CE2CA73}" srcOrd="0" destOrd="0" presId="urn:microsoft.com/office/officeart/2005/8/layout/vList3#6"/>
    <dgm:cxn modelId="{F1999727-9417-4797-8613-D63D6813F35F}" type="presParOf" srcId="{F172EEB0-7AD0-4053-8545-AB0C615844D7}" destId="{1D10B91D-C43A-46BB-8BA3-6C1AEEBC53CE}" srcOrd="1" destOrd="0" presId="urn:microsoft.com/office/officeart/2005/8/layout/vList3#6"/>
    <dgm:cxn modelId="{5BD308FB-3A6B-427E-8974-066609D2EFB8}" type="presParOf" srcId="{87058BDE-5535-4089-A0AA-1234D7F9F1C3}" destId="{16EC8316-63F1-49CA-BC0D-34A6AB57CF3B}" srcOrd="5" destOrd="0" presId="urn:microsoft.com/office/officeart/2005/8/layout/vList3#6"/>
    <dgm:cxn modelId="{B96FB18F-B71D-49C1-90C0-A75829020B8F}" type="presParOf" srcId="{87058BDE-5535-4089-A0AA-1234D7F9F1C3}" destId="{3E3E218C-9F8A-4DD2-A6B4-497CC7EDB507}" srcOrd="6" destOrd="0" presId="urn:microsoft.com/office/officeart/2005/8/layout/vList3#6"/>
    <dgm:cxn modelId="{A5FA8946-53B0-4573-AB2C-E306EC687643}" type="presParOf" srcId="{3E3E218C-9F8A-4DD2-A6B4-497CC7EDB507}" destId="{472A3E97-5AC7-4093-8C5C-CC4F5B343949}" srcOrd="0" destOrd="0" presId="urn:microsoft.com/office/officeart/2005/8/layout/vList3#6"/>
    <dgm:cxn modelId="{B78BD786-3BC9-4E35-A526-38F94421925A}" type="presParOf" srcId="{3E3E218C-9F8A-4DD2-A6B4-497CC7EDB507}" destId="{F5A9A23F-C721-4779-BD70-16DAAFF968E9}" srcOrd="1" destOrd="0" presId="urn:microsoft.com/office/officeart/2005/8/layout/vList3#6"/>
    <dgm:cxn modelId="{7349C7FF-B6C1-4B9E-AD4B-5A5BE0C54781}" type="presParOf" srcId="{87058BDE-5535-4089-A0AA-1234D7F9F1C3}" destId="{021ECEBE-A334-4342-A00F-133F51F25673}" srcOrd="7" destOrd="0" presId="urn:microsoft.com/office/officeart/2005/8/layout/vList3#6"/>
    <dgm:cxn modelId="{0325FD41-84A7-4591-A6A1-3B922DD552F1}" type="presParOf" srcId="{87058BDE-5535-4089-A0AA-1234D7F9F1C3}" destId="{267D8A28-12C0-4084-8386-3AEB5F1696FA}" srcOrd="8" destOrd="0" presId="urn:microsoft.com/office/officeart/2005/8/layout/vList3#6"/>
    <dgm:cxn modelId="{94D8C36B-D45C-41F2-9A38-DA7B16756EE4}" type="presParOf" srcId="{267D8A28-12C0-4084-8386-3AEB5F1696FA}" destId="{80055D65-0E23-405E-A3F7-A767BCABD384}" srcOrd="0" destOrd="0" presId="urn:microsoft.com/office/officeart/2005/8/layout/vList3#6"/>
    <dgm:cxn modelId="{A0C45F0C-6C9B-4EBB-8C82-D05D07C52F89}" type="presParOf" srcId="{267D8A28-12C0-4084-8386-3AEB5F1696FA}" destId="{95854B4E-F91C-4772-9068-EF188564CC05}" srcOrd="1" destOrd="0" presId="urn:microsoft.com/office/officeart/2005/8/layout/vList3#6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65571A-66FE-4918-B98C-0B460A7FB58C}">
      <dsp:nvSpPr>
        <dsp:cNvPr id="0" name=""/>
        <dsp:cNvSpPr/>
      </dsp:nvSpPr>
      <dsp:spPr>
        <a:xfrm>
          <a:off x="4755" y="184395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smtClean="0">
              <a:solidFill>
                <a:schemeClr val="bg1">
                  <a:lumMod val="50000"/>
                </a:schemeClr>
              </a:solidFill>
            </a:rPr>
            <a:t>KPI’S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9731" y="209371"/>
        <a:ext cx="1371282" cy="802788"/>
      </dsp:txXfrm>
    </dsp:sp>
    <dsp:sp modelId="{A8056FCF-1299-48A3-9C8B-D45F79E28E8E}">
      <dsp:nvSpPr>
        <dsp:cNvPr id="0" name=""/>
        <dsp:cNvSpPr/>
      </dsp:nvSpPr>
      <dsp:spPr>
        <a:xfrm>
          <a:off x="1551058" y="434532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1551058" y="505025"/>
        <a:ext cx="210911" cy="211480"/>
      </dsp:txXfrm>
    </dsp:sp>
    <dsp:sp modelId="{315C27A1-E2D2-49D4-B8A6-25A8F067E6FD}">
      <dsp:nvSpPr>
        <dsp:cNvPr id="0" name=""/>
        <dsp:cNvSpPr/>
      </dsp:nvSpPr>
      <dsp:spPr>
        <a:xfrm>
          <a:off x="1994483" y="184395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smtClean="0">
              <a:solidFill>
                <a:schemeClr val="bg1">
                  <a:lumMod val="50000"/>
                </a:schemeClr>
              </a:solidFill>
            </a:rPr>
            <a:t>INTEGRA SOCIOS LOGÍSTICOS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019459" y="209371"/>
        <a:ext cx="1371282" cy="802788"/>
      </dsp:txXfrm>
    </dsp:sp>
    <dsp:sp modelId="{384BFF19-7C10-45B5-ABEF-53C6949AD5DA}">
      <dsp:nvSpPr>
        <dsp:cNvPr id="0" name=""/>
        <dsp:cNvSpPr/>
      </dsp:nvSpPr>
      <dsp:spPr>
        <a:xfrm>
          <a:off x="3540786" y="434532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3540786" y="505025"/>
        <a:ext cx="210911" cy="211480"/>
      </dsp:txXfrm>
    </dsp:sp>
    <dsp:sp modelId="{1CF08A3B-FF8F-4278-8864-3571808672E0}">
      <dsp:nvSpPr>
        <dsp:cNvPr id="0" name=""/>
        <dsp:cNvSpPr/>
      </dsp:nvSpPr>
      <dsp:spPr>
        <a:xfrm>
          <a:off x="3984211" y="184395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dirty="0" smtClean="0">
              <a:solidFill>
                <a:schemeClr val="bg1">
                  <a:lumMod val="50000"/>
                </a:schemeClr>
              </a:solidFill>
            </a:rPr>
            <a:t>AUTOMATIZACIÓN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4009187" y="209371"/>
        <a:ext cx="1371282" cy="802788"/>
      </dsp:txXfrm>
    </dsp:sp>
    <dsp:sp modelId="{576C288A-F61D-4823-894A-C0110A7CCBF8}">
      <dsp:nvSpPr>
        <dsp:cNvPr id="0" name=""/>
        <dsp:cNvSpPr/>
      </dsp:nvSpPr>
      <dsp:spPr>
        <a:xfrm rot="5400000">
          <a:off x="4544177" y="1136622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 rot="-5400000">
        <a:off x="4589088" y="1162204"/>
        <a:ext cx="211480" cy="210911"/>
      </dsp:txXfrm>
    </dsp:sp>
    <dsp:sp modelId="{52C1523F-F336-4201-9554-DCF8581A22E2}">
      <dsp:nvSpPr>
        <dsp:cNvPr id="0" name=""/>
        <dsp:cNvSpPr/>
      </dsp:nvSpPr>
      <dsp:spPr>
        <a:xfrm>
          <a:off x="3984211" y="1605629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smtClean="0">
              <a:solidFill>
                <a:schemeClr val="bg1">
                  <a:lumMod val="50000"/>
                </a:schemeClr>
              </a:solidFill>
            </a:rPr>
            <a:t>REDUCCIÓN TIEMPOS LOGÍSTICOS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4009187" y="1630605"/>
        <a:ext cx="1371282" cy="802788"/>
      </dsp:txXfrm>
    </dsp:sp>
    <dsp:sp modelId="{22B0A5BF-297D-44EA-8D77-FDA7A5B2B405}">
      <dsp:nvSpPr>
        <dsp:cNvPr id="0" name=""/>
        <dsp:cNvSpPr/>
      </dsp:nvSpPr>
      <dsp:spPr>
        <a:xfrm rot="10800000">
          <a:off x="3557841" y="1855766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 rot="10800000">
        <a:off x="3648231" y="1926259"/>
        <a:ext cx="210911" cy="211480"/>
      </dsp:txXfrm>
    </dsp:sp>
    <dsp:sp modelId="{032B7905-B147-4137-A6C8-8D2A2C21E28A}">
      <dsp:nvSpPr>
        <dsp:cNvPr id="0" name=""/>
        <dsp:cNvSpPr/>
      </dsp:nvSpPr>
      <dsp:spPr>
        <a:xfrm>
          <a:off x="1994483" y="1605629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dirty="0" smtClean="0">
              <a:solidFill>
                <a:schemeClr val="bg1">
                  <a:lumMod val="50000"/>
                </a:schemeClr>
              </a:solidFill>
            </a:rPr>
            <a:t>REGÍMENES ESPECIALES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019459" y="1630605"/>
        <a:ext cx="1371282" cy="802788"/>
      </dsp:txXfrm>
    </dsp:sp>
    <dsp:sp modelId="{C0EDB19E-327C-499D-8FC7-7038EBD8F383}">
      <dsp:nvSpPr>
        <dsp:cNvPr id="0" name=""/>
        <dsp:cNvSpPr/>
      </dsp:nvSpPr>
      <dsp:spPr>
        <a:xfrm rot="10800000">
          <a:off x="1568112" y="1855766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 rot="10800000">
        <a:off x="1658502" y="1926259"/>
        <a:ext cx="210911" cy="211480"/>
      </dsp:txXfrm>
    </dsp:sp>
    <dsp:sp modelId="{158EB984-FD49-456C-BE6F-78B2C43F2042}">
      <dsp:nvSpPr>
        <dsp:cNvPr id="0" name=""/>
        <dsp:cNvSpPr/>
      </dsp:nvSpPr>
      <dsp:spPr>
        <a:xfrm>
          <a:off x="4755" y="1605629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smtClean="0">
              <a:solidFill>
                <a:schemeClr val="bg1">
                  <a:lumMod val="50000"/>
                </a:schemeClr>
              </a:solidFill>
            </a:rPr>
            <a:t>INFORMACIÓN EN TIEMPO REAL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9731" y="1630605"/>
        <a:ext cx="1371282" cy="802788"/>
      </dsp:txXfrm>
    </dsp:sp>
    <dsp:sp modelId="{8A146258-0701-46FC-8080-455F788D0599}">
      <dsp:nvSpPr>
        <dsp:cNvPr id="0" name=""/>
        <dsp:cNvSpPr/>
      </dsp:nvSpPr>
      <dsp:spPr>
        <a:xfrm rot="5400000">
          <a:off x="564721" y="2557856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 rot="-5400000">
        <a:off x="609632" y="2583438"/>
        <a:ext cx="211480" cy="210911"/>
      </dsp:txXfrm>
    </dsp:sp>
    <dsp:sp modelId="{29FAD8AD-00B7-4D71-98EE-F567172670DD}">
      <dsp:nvSpPr>
        <dsp:cNvPr id="0" name=""/>
        <dsp:cNvSpPr/>
      </dsp:nvSpPr>
      <dsp:spPr>
        <a:xfrm>
          <a:off x="4755" y="3026864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900" b="1" kern="1200" noProof="0" dirty="0" smtClean="0">
              <a:solidFill>
                <a:schemeClr val="bg1">
                  <a:lumMod val="50000"/>
                </a:schemeClr>
              </a:solidFill>
            </a:rPr>
            <a:t>ESTANDARIZACIÓN DE PROCESOS</a:t>
          </a:r>
          <a:endParaRPr lang="es-ES" sz="9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9731" y="3051840"/>
        <a:ext cx="1371282" cy="802788"/>
      </dsp:txXfrm>
    </dsp:sp>
    <dsp:sp modelId="{9759101B-6EB9-46B8-8CD8-34C6A3E246FE}">
      <dsp:nvSpPr>
        <dsp:cNvPr id="0" name=""/>
        <dsp:cNvSpPr/>
      </dsp:nvSpPr>
      <dsp:spPr>
        <a:xfrm>
          <a:off x="1551058" y="3277001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1551058" y="3347494"/>
        <a:ext cx="210911" cy="211480"/>
      </dsp:txXfrm>
    </dsp:sp>
    <dsp:sp modelId="{4CA157D1-5348-448C-8FBF-65C24768C15F}">
      <dsp:nvSpPr>
        <dsp:cNvPr id="0" name=""/>
        <dsp:cNvSpPr/>
      </dsp:nvSpPr>
      <dsp:spPr>
        <a:xfrm>
          <a:off x="1994483" y="3026864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dirty="0" smtClean="0">
              <a:solidFill>
                <a:schemeClr val="bg1">
                  <a:lumMod val="50000"/>
                </a:schemeClr>
              </a:solidFill>
            </a:rPr>
            <a:t>VALIDACION DE CUMPLIMIENTO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2019459" y="3051840"/>
        <a:ext cx="1371282" cy="802788"/>
      </dsp:txXfrm>
    </dsp:sp>
    <dsp:sp modelId="{FE0786D7-014A-4AED-8598-97589BB76B28}">
      <dsp:nvSpPr>
        <dsp:cNvPr id="0" name=""/>
        <dsp:cNvSpPr/>
      </dsp:nvSpPr>
      <dsp:spPr>
        <a:xfrm>
          <a:off x="3540786" y="3277001"/>
          <a:ext cx="301301" cy="352466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7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3540786" y="3347494"/>
        <a:ext cx="210911" cy="211480"/>
      </dsp:txXfrm>
    </dsp:sp>
    <dsp:sp modelId="{BE0B01C6-6303-4536-BD3E-FF7A931A26BD}">
      <dsp:nvSpPr>
        <dsp:cNvPr id="0" name=""/>
        <dsp:cNvSpPr/>
      </dsp:nvSpPr>
      <dsp:spPr>
        <a:xfrm>
          <a:off x="3984211" y="3026864"/>
          <a:ext cx="1421234" cy="85274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b="1" kern="1200" noProof="0" smtClean="0">
              <a:solidFill>
                <a:schemeClr val="bg1">
                  <a:lumMod val="50000"/>
                </a:schemeClr>
              </a:solidFill>
            </a:rPr>
            <a:t>VISIBILIDAD Y PREVISIBILIDAD</a:t>
          </a:r>
          <a:endParaRPr lang="es-ES" sz="1000" b="1" kern="1200" noProof="0" dirty="0">
            <a:solidFill>
              <a:schemeClr val="bg1">
                <a:lumMod val="50000"/>
              </a:schemeClr>
            </a:solidFill>
          </a:endParaRPr>
        </a:p>
      </dsp:txBody>
      <dsp:txXfrm>
        <a:off x="4009187" y="3051840"/>
        <a:ext cx="1371282" cy="802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73403C-18B9-4735-8318-95E987DC0692}">
      <dsp:nvSpPr>
        <dsp:cNvPr id="0" name=""/>
        <dsp:cNvSpPr/>
      </dsp:nvSpPr>
      <dsp:spPr>
        <a:xfrm>
          <a:off x="1558118" y="453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050" b="1" kern="1200" dirty="0" smtClean="0"/>
            <a:t>IT</a:t>
          </a:r>
          <a:endParaRPr lang="es-AR" sz="1050" b="1" kern="1200" dirty="0"/>
        </a:p>
      </dsp:txBody>
      <dsp:txXfrm>
        <a:off x="1626239" y="68574"/>
        <a:ext cx="328920" cy="328920"/>
      </dsp:txXfrm>
    </dsp:sp>
    <dsp:sp modelId="{0953105D-4358-4BC4-BEBF-A95F5A57D940}">
      <dsp:nvSpPr>
        <dsp:cNvPr id="0" name=""/>
        <dsp:cNvSpPr/>
      </dsp:nvSpPr>
      <dsp:spPr>
        <a:xfrm rot="1350000">
          <a:off x="2048491" y="287048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>
        <a:off x="2049910" y="311315"/>
        <a:ext cx="86962" cy="94196"/>
      </dsp:txXfrm>
    </dsp:sp>
    <dsp:sp modelId="{0F4351D1-6C0D-4D23-8E63-90E0D8BB8C1F}">
      <dsp:nvSpPr>
        <dsp:cNvPr id="0" name=""/>
        <dsp:cNvSpPr/>
      </dsp:nvSpPr>
      <dsp:spPr>
        <a:xfrm>
          <a:off x="2204431" y="268165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700" b="1" kern="1200" dirty="0" smtClean="0"/>
            <a:t>REPO STOCK</a:t>
          </a:r>
        </a:p>
      </dsp:txBody>
      <dsp:txXfrm>
        <a:off x="2272552" y="336286"/>
        <a:ext cx="328920" cy="328920"/>
      </dsp:txXfrm>
    </dsp:sp>
    <dsp:sp modelId="{1323BCF0-DF62-4C70-8871-94C240580B53}">
      <dsp:nvSpPr>
        <dsp:cNvPr id="0" name=""/>
        <dsp:cNvSpPr/>
      </dsp:nvSpPr>
      <dsp:spPr>
        <a:xfrm rot="4250169">
          <a:off x="2483001" y="773420"/>
          <a:ext cx="152105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>
        <a:off x="2498327" y="783267"/>
        <a:ext cx="106474" cy="94196"/>
      </dsp:txXfrm>
    </dsp:sp>
    <dsp:sp modelId="{F1DC7579-DDB7-46A8-873B-59834729CFCA}">
      <dsp:nvSpPr>
        <dsp:cNvPr id="0" name=""/>
        <dsp:cNvSpPr/>
      </dsp:nvSpPr>
      <dsp:spPr>
        <a:xfrm>
          <a:off x="2451341" y="978638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000" b="1" kern="1200" dirty="0" smtClean="0"/>
            <a:t>IMEX</a:t>
          </a:r>
          <a:endParaRPr lang="es-AR" sz="1000" b="1" kern="1200" dirty="0"/>
        </a:p>
      </dsp:txBody>
      <dsp:txXfrm>
        <a:off x="2519462" y="1046759"/>
        <a:ext cx="328920" cy="328920"/>
      </dsp:txXfrm>
    </dsp:sp>
    <dsp:sp modelId="{74726DFB-546C-4F73-8797-A4314161BB18}">
      <dsp:nvSpPr>
        <dsp:cNvPr id="0" name=""/>
        <dsp:cNvSpPr/>
      </dsp:nvSpPr>
      <dsp:spPr>
        <a:xfrm rot="6779005">
          <a:off x="2517142" y="1421490"/>
          <a:ext cx="88609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 rot="10800000">
        <a:off x="2535623" y="1440652"/>
        <a:ext cx="62026" cy="94196"/>
      </dsp:txXfrm>
    </dsp:sp>
    <dsp:sp modelId="{6B0C8536-9123-479A-8408-8522D7C3E028}">
      <dsp:nvSpPr>
        <dsp:cNvPr id="0" name=""/>
        <dsp:cNvSpPr/>
      </dsp:nvSpPr>
      <dsp:spPr>
        <a:xfrm>
          <a:off x="2204431" y="1560790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500" b="1" kern="1200" dirty="0" smtClean="0"/>
            <a:t>PLAN VALLEJO</a:t>
          </a:r>
          <a:endParaRPr lang="es-AR" sz="500" b="1" kern="1200" dirty="0"/>
        </a:p>
      </dsp:txBody>
      <dsp:txXfrm>
        <a:off x="2272552" y="1628911"/>
        <a:ext cx="328920" cy="328920"/>
      </dsp:txXfrm>
    </dsp:sp>
    <dsp:sp modelId="{22DFEF78-660E-4A99-99C3-CEBA36AECEE4}">
      <dsp:nvSpPr>
        <dsp:cNvPr id="0" name=""/>
        <dsp:cNvSpPr/>
      </dsp:nvSpPr>
      <dsp:spPr>
        <a:xfrm rot="9450000">
          <a:off x="2054988" y="1847385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 rot="10800000">
        <a:off x="2090839" y="1871652"/>
        <a:ext cx="86962" cy="94196"/>
      </dsp:txXfrm>
    </dsp:sp>
    <dsp:sp modelId="{D778A0A2-EE9B-4EDA-8E8C-F205114A430B}">
      <dsp:nvSpPr>
        <dsp:cNvPr id="0" name=""/>
        <dsp:cNvSpPr/>
      </dsp:nvSpPr>
      <dsp:spPr>
        <a:xfrm>
          <a:off x="1558118" y="1828502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700" b="1" kern="1200" dirty="0" smtClean="0"/>
            <a:t>DRAW BACK</a:t>
          </a:r>
          <a:endParaRPr lang="es-AR" sz="1000" b="1" kern="1200" dirty="0"/>
        </a:p>
      </dsp:txBody>
      <dsp:txXfrm>
        <a:off x="1626239" y="1896623"/>
        <a:ext cx="328920" cy="328920"/>
      </dsp:txXfrm>
    </dsp:sp>
    <dsp:sp modelId="{79A56D37-EDA1-471A-BFFC-FEDA696DA5B5}">
      <dsp:nvSpPr>
        <dsp:cNvPr id="0" name=""/>
        <dsp:cNvSpPr/>
      </dsp:nvSpPr>
      <dsp:spPr>
        <a:xfrm rot="12150000">
          <a:off x="1408675" y="1850076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400" kern="1200"/>
        </a:p>
      </dsp:txBody>
      <dsp:txXfrm rot="10800000">
        <a:off x="1444526" y="1888605"/>
        <a:ext cx="86962" cy="94196"/>
      </dsp:txXfrm>
    </dsp:sp>
    <dsp:sp modelId="{415930D2-B3FF-4833-A16E-0D2536B10540}">
      <dsp:nvSpPr>
        <dsp:cNvPr id="0" name=""/>
        <dsp:cNvSpPr/>
      </dsp:nvSpPr>
      <dsp:spPr>
        <a:xfrm>
          <a:off x="911806" y="1560790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600" b="1" kern="1200" dirty="0" smtClean="0"/>
            <a:t>RECOF</a:t>
          </a:r>
          <a:endParaRPr lang="es-AR" sz="600" b="1" kern="1200" dirty="0"/>
        </a:p>
      </dsp:txBody>
      <dsp:txXfrm>
        <a:off x="979927" y="1628911"/>
        <a:ext cx="328920" cy="328920"/>
      </dsp:txXfrm>
    </dsp:sp>
    <dsp:sp modelId="{2E7AF412-68BE-4E43-8EF5-F45182640788}">
      <dsp:nvSpPr>
        <dsp:cNvPr id="0" name=""/>
        <dsp:cNvSpPr/>
      </dsp:nvSpPr>
      <dsp:spPr>
        <a:xfrm rot="14850000">
          <a:off x="949760" y="1394967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 rot="10800000">
        <a:off x="975526" y="1443581"/>
        <a:ext cx="86962" cy="94196"/>
      </dsp:txXfrm>
    </dsp:sp>
    <dsp:sp modelId="{6FA6F87E-0FDC-404F-B9BA-0FA5468C8C1D}">
      <dsp:nvSpPr>
        <dsp:cNvPr id="0" name=""/>
        <dsp:cNvSpPr/>
      </dsp:nvSpPr>
      <dsp:spPr>
        <a:xfrm>
          <a:off x="644094" y="914477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700" b="1" kern="1200" dirty="0" smtClean="0"/>
            <a:t>RE PETRO</a:t>
          </a:r>
          <a:endParaRPr lang="es-AR" sz="400" b="1" kern="1200" dirty="0"/>
        </a:p>
      </dsp:txBody>
      <dsp:txXfrm>
        <a:off x="712215" y="982598"/>
        <a:ext cx="328920" cy="328920"/>
      </dsp:txXfrm>
    </dsp:sp>
    <dsp:sp modelId="{DFEFC46B-2072-40B2-AF31-D619B748C494}">
      <dsp:nvSpPr>
        <dsp:cNvPr id="0" name=""/>
        <dsp:cNvSpPr/>
      </dsp:nvSpPr>
      <dsp:spPr>
        <a:xfrm rot="17550000">
          <a:off x="947069" y="748654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>
        <a:off x="958573" y="797268"/>
        <a:ext cx="86962" cy="94196"/>
      </dsp:txXfrm>
    </dsp:sp>
    <dsp:sp modelId="{D83BCA25-82AD-4332-8A2C-27B7A51688F2}">
      <dsp:nvSpPr>
        <dsp:cNvPr id="0" name=""/>
        <dsp:cNvSpPr/>
      </dsp:nvSpPr>
      <dsp:spPr>
        <a:xfrm>
          <a:off x="911806" y="268165"/>
          <a:ext cx="465162" cy="4651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AR" sz="1000" b="1" kern="1200" dirty="0" smtClean="0"/>
            <a:t>RAF</a:t>
          </a:r>
          <a:endParaRPr lang="es-AR" sz="1000" b="1" kern="1200" dirty="0"/>
        </a:p>
      </dsp:txBody>
      <dsp:txXfrm>
        <a:off x="979927" y="336286"/>
        <a:ext cx="328920" cy="328920"/>
      </dsp:txXfrm>
    </dsp:sp>
    <dsp:sp modelId="{A398CBFA-BE5A-4290-8783-A8218576EB1F}">
      <dsp:nvSpPr>
        <dsp:cNvPr id="0" name=""/>
        <dsp:cNvSpPr/>
      </dsp:nvSpPr>
      <dsp:spPr>
        <a:xfrm rot="20250000">
          <a:off x="1402178" y="289739"/>
          <a:ext cx="124232" cy="15699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dk2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AR" sz="200" b="1" kern="1200"/>
        </a:p>
      </dsp:txBody>
      <dsp:txXfrm>
        <a:off x="1403597" y="328268"/>
        <a:ext cx="86962" cy="941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B9562-D763-42A3-BA37-7DC7A01252A8}">
      <dsp:nvSpPr>
        <dsp:cNvPr id="0" name=""/>
        <dsp:cNvSpPr/>
      </dsp:nvSpPr>
      <dsp:spPr>
        <a:xfrm rot="10800000">
          <a:off x="190482" y="1768591"/>
          <a:ext cx="1162152" cy="349416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5720" rIns="6480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200" kern="1200" dirty="0" smtClean="0"/>
            <a:t>Brazil</a:t>
          </a:r>
          <a:endParaRPr lang="pt-BR" sz="1200" kern="1200" dirty="0"/>
        </a:p>
      </dsp:txBody>
      <dsp:txXfrm rot="10800000">
        <a:off x="190482" y="1768591"/>
        <a:ext cx="1162152" cy="349416"/>
      </dsp:txXfrm>
    </dsp:sp>
    <dsp:sp modelId="{A93D5A44-FF78-415A-AB8F-F99D453B4EF4}">
      <dsp:nvSpPr>
        <dsp:cNvPr id="0" name=""/>
        <dsp:cNvSpPr/>
      </dsp:nvSpPr>
      <dsp:spPr>
        <a:xfrm>
          <a:off x="209847" y="1768591"/>
          <a:ext cx="333532" cy="358216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6000" r="-2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94D776-3AE0-4037-94E9-A0F6957146A3}">
      <dsp:nvSpPr>
        <dsp:cNvPr id="0" name=""/>
        <dsp:cNvSpPr/>
      </dsp:nvSpPr>
      <dsp:spPr>
        <a:xfrm rot="10800000">
          <a:off x="190482" y="2273563"/>
          <a:ext cx="1162152" cy="349416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Argentina</a:t>
          </a:r>
          <a:endParaRPr lang="pt-BR" sz="1100" kern="1200" dirty="0"/>
        </a:p>
      </dsp:txBody>
      <dsp:txXfrm rot="10800000">
        <a:off x="190482" y="2273563"/>
        <a:ext cx="1162152" cy="349416"/>
      </dsp:txXfrm>
    </dsp:sp>
    <dsp:sp modelId="{AD7398DF-35D2-4429-9557-67D2E7E0D76C}">
      <dsp:nvSpPr>
        <dsp:cNvPr id="0" name=""/>
        <dsp:cNvSpPr/>
      </dsp:nvSpPr>
      <dsp:spPr>
        <a:xfrm>
          <a:off x="209847" y="2273563"/>
          <a:ext cx="333532" cy="358216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9000" r="-29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190482" y="2778535"/>
          <a:ext cx="1162152" cy="349416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Mexico</a:t>
          </a:r>
          <a:endParaRPr lang="pt-BR" sz="1100" kern="1200" dirty="0"/>
        </a:p>
      </dsp:txBody>
      <dsp:txXfrm rot="10800000">
        <a:off x="190482" y="2778535"/>
        <a:ext cx="1162152" cy="349416"/>
      </dsp:txXfrm>
    </dsp:sp>
    <dsp:sp modelId="{3376CF8E-261A-4906-A83E-CC3CB1AA16F1}">
      <dsp:nvSpPr>
        <dsp:cNvPr id="0" name=""/>
        <dsp:cNvSpPr/>
      </dsp:nvSpPr>
      <dsp:spPr>
        <a:xfrm>
          <a:off x="209847" y="2778535"/>
          <a:ext cx="333532" cy="358216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94D776-3AE0-4037-94E9-A0F6957146A3}">
      <dsp:nvSpPr>
        <dsp:cNvPr id="0" name=""/>
        <dsp:cNvSpPr/>
      </dsp:nvSpPr>
      <dsp:spPr>
        <a:xfrm rot="10800000">
          <a:off x="185588" y="477036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China</a:t>
          </a:r>
          <a:endParaRPr lang="pt-BR" sz="1100" kern="1200" dirty="0"/>
        </a:p>
      </dsp:txBody>
      <dsp:txXfrm rot="10800000">
        <a:off x="185588" y="477036"/>
        <a:ext cx="1154020" cy="332048"/>
      </dsp:txXfrm>
    </dsp:sp>
    <dsp:sp modelId="{AD7398DF-35D2-4429-9557-67D2E7E0D76C}">
      <dsp:nvSpPr>
        <dsp:cNvPr id="0" name=""/>
        <dsp:cNvSpPr/>
      </dsp:nvSpPr>
      <dsp:spPr>
        <a:xfrm>
          <a:off x="207947" y="477036"/>
          <a:ext cx="316953" cy="340410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185588" y="862119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India</a:t>
          </a:r>
          <a:endParaRPr lang="pt-BR" sz="1100" kern="1200" dirty="0"/>
        </a:p>
      </dsp:txBody>
      <dsp:txXfrm rot="10800000">
        <a:off x="185588" y="862119"/>
        <a:ext cx="1154020" cy="332048"/>
      </dsp:txXfrm>
    </dsp:sp>
    <dsp:sp modelId="{3376CF8E-261A-4906-A83E-CC3CB1AA16F1}">
      <dsp:nvSpPr>
        <dsp:cNvPr id="0" name=""/>
        <dsp:cNvSpPr/>
      </dsp:nvSpPr>
      <dsp:spPr>
        <a:xfrm>
          <a:off x="207947" y="862119"/>
          <a:ext cx="316953" cy="340410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ECB79-F2D9-4ADE-968D-7CAC081472A0}">
      <dsp:nvSpPr>
        <dsp:cNvPr id="0" name=""/>
        <dsp:cNvSpPr/>
      </dsp:nvSpPr>
      <dsp:spPr>
        <a:xfrm rot="10800000">
          <a:off x="185588" y="1270734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Japan</a:t>
          </a:r>
          <a:endParaRPr lang="pt-BR" sz="1100" kern="1200" dirty="0"/>
        </a:p>
      </dsp:txBody>
      <dsp:txXfrm rot="10800000">
        <a:off x="185588" y="1270734"/>
        <a:ext cx="1154020" cy="332048"/>
      </dsp:txXfrm>
    </dsp:sp>
    <dsp:sp modelId="{EAC25227-1C42-49D0-89BD-CCF4E667B392}">
      <dsp:nvSpPr>
        <dsp:cNvPr id="0" name=""/>
        <dsp:cNvSpPr/>
      </dsp:nvSpPr>
      <dsp:spPr>
        <a:xfrm>
          <a:off x="207947" y="1270734"/>
          <a:ext cx="316953" cy="340410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10B91D-C43A-46BB-8BA3-6C1AEEBC53CE}">
      <dsp:nvSpPr>
        <dsp:cNvPr id="0" name=""/>
        <dsp:cNvSpPr/>
      </dsp:nvSpPr>
      <dsp:spPr>
        <a:xfrm rot="10800000">
          <a:off x="185588" y="1668324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Korea</a:t>
          </a:r>
          <a:endParaRPr lang="pt-BR" sz="1100" kern="1200" dirty="0"/>
        </a:p>
      </dsp:txBody>
      <dsp:txXfrm rot="10800000">
        <a:off x="185588" y="1668324"/>
        <a:ext cx="1154020" cy="332048"/>
      </dsp:txXfrm>
    </dsp:sp>
    <dsp:sp modelId="{8E8FFB15-7249-41CC-87BE-02FF1CE2CA73}">
      <dsp:nvSpPr>
        <dsp:cNvPr id="0" name=""/>
        <dsp:cNvSpPr/>
      </dsp:nvSpPr>
      <dsp:spPr>
        <a:xfrm>
          <a:off x="207947" y="1668324"/>
          <a:ext cx="316953" cy="340410"/>
        </a:xfrm>
        <a:prstGeom prst="ellipse">
          <a:avLst/>
        </a:prstGeom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185588" y="2053406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Peru</a:t>
          </a:r>
          <a:endParaRPr lang="pt-BR" sz="1100" kern="1200" dirty="0"/>
        </a:p>
      </dsp:txBody>
      <dsp:txXfrm rot="10800000">
        <a:off x="185588" y="2053406"/>
        <a:ext cx="1154020" cy="332048"/>
      </dsp:txXfrm>
    </dsp:sp>
    <dsp:sp modelId="{472A3E97-5AC7-4093-8C5C-CC4F5B343949}">
      <dsp:nvSpPr>
        <dsp:cNvPr id="0" name=""/>
        <dsp:cNvSpPr/>
      </dsp:nvSpPr>
      <dsp:spPr>
        <a:xfrm>
          <a:off x="207947" y="2053406"/>
          <a:ext cx="316953" cy="340410"/>
        </a:xfrm>
        <a:prstGeom prst="ellipse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8000" r="-2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854B4E-F91C-4772-9068-EF188564CC05}">
      <dsp:nvSpPr>
        <dsp:cNvPr id="0" name=""/>
        <dsp:cNvSpPr/>
      </dsp:nvSpPr>
      <dsp:spPr>
        <a:xfrm rot="10800000">
          <a:off x="185588" y="2437008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Chile</a:t>
          </a:r>
          <a:endParaRPr lang="pt-BR" sz="1100" kern="1200" dirty="0"/>
        </a:p>
      </dsp:txBody>
      <dsp:txXfrm rot="10800000">
        <a:off x="185588" y="2437008"/>
        <a:ext cx="1154020" cy="332048"/>
      </dsp:txXfrm>
    </dsp:sp>
    <dsp:sp modelId="{80055D65-0E23-405E-A3F7-A767BCABD384}">
      <dsp:nvSpPr>
        <dsp:cNvPr id="0" name=""/>
        <dsp:cNvSpPr/>
      </dsp:nvSpPr>
      <dsp:spPr>
        <a:xfrm>
          <a:off x="207947" y="2437008"/>
          <a:ext cx="316953" cy="340410"/>
        </a:xfrm>
        <a:prstGeom prst="ellipse">
          <a:avLst/>
        </a:prstGeom>
        <a:blipFill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0000" r="-3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01FFF7-5020-4280-B33F-27473DE5BC57}">
      <dsp:nvSpPr>
        <dsp:cNvPr id="0" name=""/>
        <dsp:cNvSpPr/>
      </dsp:nvSpPr>
      <dsp:spPr>
        <a:xfrm rot="10800000">
          <a:off x="185588" y="2833117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Colombia</a:t>
          </a:r>
          <a:endParaRPr lang="pt-BR" sz="1100" kern="1200" dirty="0"/>
        </a:p>
      </dsp:txBody>
      <dsp:txXfrm rot="10800000">
        <a:off x="185588" y="2833117"/>
        <a:ext cx="1154020" cy="332048"/>
      </dsp:txXfrm>
    </dsp:sp>
    <dsp:sp modelId="{20A8C45F-2383-48EB-8FC2-A699C13C1C68}">
      <dsp:nvSpPr>
        <dsp:cNvPr id="0" name=""/>
        <dsp:cNvSpPr/>
      </dsp:nvSpPr>
      <dsp:spPr>
        <a:xfrm>
          <a:off x="207947" y="2833117"/>
          <a:ext cx="316953" cy="340410"/>
        </a:xfrm>
        <a:prstGeom prst="ellipse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427BA3-51CB-4447-889D-B02585E033DB}">
      <dsp:nvSpPr>
        <dsp:cNvPr id="0" name=""/>
        <dsp:cNvSpPr/>
      </dsp:nvSpPr>
      <dsp:spPr>
        <a:xfrm rot="10800000">
          <a:off x="185588" y="3241405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USA</a:t>
          </a:r>
          <a:endParaRPr lang="pt-BR" sz="1100" kern="1200" dirty="0"/>
        </a:p>
      </dsp:txBody>
      <dsp:txXfrm rot="10800000">
        <a:off x="185588" y="3241405"/>
        <a:ext cx="1154020" cy="332048"/>
      </dsp:txXfrm>
    </dsp:sp>
    <dsp:sp modelId="{31FA9C18-8F72-4975-8BB4-31D5F60F6146}">
      <dsp:nvSpPr>
        <dsp:cNvPr id="0" name=""/>
        <dsp:cNvSpPr/>
      </dsp:nvSpPr>
      <dsp:spPr>
        <a:xfrm>
          <a:off x="207947" y="3241405"/>
          <a:ext cx="316953" cy="340410"/>
        </a:xfrm>
        <a:prstGeom prst="ellipse">
          <a:avLst/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704C5C-019B-4969-BA25-8A80AB184AE6}">
      <dsp:nvSpPr>
        <dsp:cNvPr id="0" name=""/>
        <dsp:cNvSpPr/>
      </dsp:nvSpPr>
      <dsp:spPr>
        <a:xfrm rot="10800000">
          <a:off x="185588" y="3649899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Thailand</a:t>
          </a:r>
          <a:endParaRPr lang="pt-BR" sz="1100" kern="1200" dirty="0"/>
        </a:p>
      </dsp:txBody>
      <dsp:txXfrm rot="10800000">
        <a:off x="185588" y="3649899"/>
        <a:ext cx="1154020" cy="332048"/>
      </dsp:txXfrm>
    </dsp:sp>
    <dsp:sp modelId="{55F35D06-A742-40B3-905D-630CA9FDEC31}">
      <dsp:nvSpPr>
        <dsp:cNvPr id="0" name=""/>
        <dsp:cNvSpPr/>
      </dsp:nvSpPr>
      <dsp:spPr>
        <a:xfrm>
          <a:off x="207947" y="3649899"/>
          <a:ext cx="316953" cy="340410"/>
        </a:xfrm>
        <a:prstGeom prst="ellipse">
          <a:avLst/>
        </a:prstGeom>
        <a:blipFill rotWithShape="1">
          <a:blip xmlns:r="http://schemas.openxmlformats.org/officeDocument/2006/relationships" r:embed="rId9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3F92AB-2155-4B12-B1C1-19C5EC08C7CF}">
      <dsp:nvSpPr>
        <dsp:cNvPr id="0" name=""/>
        <dsp:cNvSpPr/>
      </dsp:nvSpPr>
      <dsp:spPr>
        <a:xfrm rot="10800000">
          <a:off x="185588" y="4020770"/>
          <a:ext cx="1154020" cy="332048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kern="1200" dirty="0" smtClean="0"/>
            <a:t>Singapore</a:t>
          </a:r>
          <a:endParaRPr lang="pt-BR" sz="1050" kern="1200" dirty="0"/>
        </a:p>
      </dsp:txBody>
      <dsp:txXfrm rot="10800000">
        <a:off x="185588" y="4020770"/>
        <a:ext cx="1154020" cy="332048"/>
      </dsp:txXfrm>
    </dsp:sp>
    <dsp:sp modelId="{A7C2C960-C0B9-43E7-BA9A-FD9E69A85922}">
      <dsp:nvSpPr>
        <dsp:cNvPr id="0" name=""/>
        <dsp:cNvSpPr/>
      </dsp:nvSpPr>
      <dsp:spPr>
        <a:xfrm>
          <a:off x="207947" y="4020770"/>
          <a:ext cx="316953" cy="340410"/>
        </a:xfrm>
        <a:prstGeom prst="ellipse">
          <a:avLst/>
        </a:prstGeom>
        <a:blipFill rotWithShape="1">
          <a:blip xmlns:r="http://schemas.openxmlformats.org/officeDocument/2006/relationships" r:embed="rId10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84FEE1-664E-4D75-B6AA-53639F02652C}">
      <dsp:nvSpPr>
        <dsp:cNvPr id="0" name=""/>
        <dsp:cNvSpPr/>
      </dsp:nvSpPr>
      <dsp:spPr>
        <a:xfrm rot="10800000">
          <a:off x="181126" y="445717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Spain</a:t>
          </a:r>
          <a:endParaRPr lang="pt-BR" sz="1000" kern="1200" dirty="0"/>
        </a:p>
      </dsp:txBody>
      <dsp:txXfrm rot="10800000">
        <a:off x="181126" y="445717"/>
        <a:ext cx="1253279" cy="284729"/>
      </dsp:txXfrm>
    </dsp:sp>
    <dsp:sp modelId="{BECFFFE8-028C-4499-B3D1-C548DF20E572}">
      <dsp:nvSpPr>
        <dsp:cNvPr id="0" name=""/>
        <dsp:cNvSpPr/>
      </dsp:nvSpPr>
      <dsp:spPr>
        <a:xfrm>
          <a:off x="181128" y="445717"/>
          <a:ext cx="271785" cy="291900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0879E4-F4BE-46E9-B380-69303C1EDE30}">
      <dsp:nvSpPr>
        <dsp:cNvPr id="0" name=""/>
        <dsp:cNvSpPr/>
      </dsp:nvSpPr>
      <dsp:spPr>
        <a:xfrm rot="10800000">
          <a:off x="183444" y="767847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Vietnam</a:t>
          </a:r>
          <a:endParaRPr lang="pt-BR" sz="1000" kern="1200" dirty="0"/>
        </a:p>
      </dsp:txBody>
      <dsp:txXfrm rot="10800000">
        <a:off x="183444" y="767847"/>
        <a:ext cx="1253279" cy="284729"/>
      </dsp:txXfrm>
    </dsp:sp>
    <dsp:sp modelId="{B452B0F9-E06C-4FB0-963B-4E448EBCE119}">
      <dsp:nvSpPr>
        <dsp:cNvPr id="0" name=""/>
        <dsp:cNvSpPr/>
      </dsp:nvSpPr>
      <dsp:spPr>
        <a:xfrm>
          <a:off x="223637" y="767847"/>
          <a:ext cx="271785" cy="29190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B96351-AC74-45EE-9624-D264EBD10D53}">
      <dsp:nvSpPr>
        <dsp:cNvPr id="0" name=""/>
        <dsp:cNvSpPr/>
      </dsp:nvSpPr>
      <dsp:spPr>
        <a:xfrm rot="10800000">
          <a:off x="183444" y="1179335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South Africa</a:t>
          </a:r>
          <a:endParaRPr lang="pt-BR" sz="1000" kern="1200" dirty="0"/>
        </a:p>
      </dsp:txBody>
      <dsp:txXfrm rot="10800000">
        <a:off x="183444" y="1179335"/>
        <a:ext cx="1253279" cy="284729"/>
      </dsp:txXfrm>
    </dsp:sp>
    <dsp:sp modelId="{7AF2471A-E004-4A81-8656-B06FA7CAF7AD}">
      <dsp:nvSpPr>
        <dsp:cNvPr id="0" name=""/>
        <dsp:cNvSpPr/>
      </dsp:nvSpPr>
      <dsp:spPr>
        <a:xfrm>
          <a:off x="223637" y="1179335"/>
          <a:ext cx="271785" cy="291900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BAB5AE-F8CC-4895-BA48-0B677262887B}">
      <dsp:nvSpPr>
        <dsp:cNvPr id="0" name=""/>
        <dsp:cNvSpPr/>
      </dsp:nvSpPr>
      <dsp:spPr>
        <a:xfrm rot="10800000">
          <a:off x="183444" y="1887670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UAE</a:t>
          </a:r>
          <a:endParaRPr lang="pt-BR" sz="1000" kern="1200" dirty="0"/>
        </a:p>
      </dsp:txBody>
      <dsp:txXfrm rot="10800000">
        <a:off x="183444" y="1887670"/>
        <a:ext cx="1253279" cy="284729"/>
      </dsp:txXfrm>
    </dsp:sp>
    <dsp:sp modelId="{36036730-807F-4663-B860-6B6363C03BF1}">
      <dsp:nvSpPr>
        <dsp:cNvPr id="0" name=""/>
        <dsp:cNvSpPr/>
      </dsp:nvSpPr>
      <dsp:spPr>
        <a:xfrm>
          <a:off x="223637" y="1899280"/>
          <a:ext cx="271785" cy="291900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172DE9-C727-4F19-BEF8-2206656548D3}">
      <dsp:nvSpPr>
        <dsp:cNvPr id="0" name=""/>
        <dsp:cNvSpPr/>
      </dsp:nvSpPr>
      <dsp:spPr>
        <a:xfrm rot="10800000">
          <a:off x="183444" y="2254889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Hong Kong</a:t>
          </a:r>
          <a:endParaRPr lang="pt-BR" sz="1000" kern="1200" dirty="0"/>
        </a:p>
      </dsp:txBody>
      <dsp:txXfrm rot="10800000">
        <a:off x="183444" y="2254889"/>
        <a:ext cx="1253279" cy="284729"/>
      </dsp:txXfrm>
    </dsp:sp>
    <dsp:sp modelId="{9223B983-F555-45B2-8F05-3C78F9FB92BA}">
      <dsp:nvSpPr>
        <dsp:cNvPr id="0" name=""/>
        <dsp:cNvSpPr/>
      </dsp:nvSpPr>
      <dsp:spPr>
        <a:xfrm>
          <a:off x="223637" y="2254889"/>
          <a:ext cx="271785" cy="291900"/>
        </a:xfrm>
        <a:prstGeom prst="ellipse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183444" y="2598969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Malaysia</a:t>
          </a:r>
          <a:endParaRPr lang="pt-BR" sz="1100" kern="1200" dirty="0"/>
        </a:p>
      </dsp:txBody>
      <dsp:txXfrm rot="10800000">
        <a:off x="183444" y="2598969"/>
        <a:ext cx="1253279" cy="284729"/>
      </dsp:txXfrm>
    </dsp:sp>
    <dsp:sp modelId="{3376CF8E-261A-4906-A83E-CC3CB1AA16F1}">
      <dsp:nvSpPr>
        <dsp:cNvPr id="0" name=""/>
        <dsp:cNvSpPr/>
      </dsp:nvSpPr>
      <dsp:spPr>
        <a:xfrm>
          <a:off x="223637" y="2598969"/>
          <a:ext cx="271785" cy="291900"/>
        </a:xfrm>
        <a:prstGeom prst="ellipse">
          <a:avLst/>
        </a:prstGeom>
        <a:blipFill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170170" y="1521612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Turkey</a:t>
          </a:r>
          <a:endParaRPr lang="pt-BR" sz="1100" kern="1200" dirty="0"/>
        </a:p>
      </dsp:txBody>
      <dsp:txXfrm rot="10800000">
        <a:off x="170170" y="1521612"/>
        <a:ext cx="1253279" cy="284729"/>
      </dsp:txXfrm>
    </dsp:sp>
    <dsp:sp modelId="{472A3E97-5AC7-4093-8C5C-CC4F5B343949}">
      <dsp:nvSpPr>
        <dsp:cNvPr id="0" name=""/>
        <dsp:cNvSpPr/>
      </dsp:nvSpPr>
      <dsp:spPr>
        <a:xfrm>
          <a:off x="219403" y="1499478"/>
          <a:ext cx="271785" cy="291900"/>
        </a:xfrm>
        <a:prstGeom prst="ellipse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1000" r="-3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024022-AEBB-4CC1-8EB7-DF71C2AB504C}">
      <dsp:nvSpPr>
        <dsp:cNvPr id="0" name=""/>
        <dsp:cNvSpPr/>
      </dsp:nvSpPr>
      <dsp:spPr>
        <a:xfrm rot="10800000">
          <a:off x="183444" y="2927003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UK</a:t>
          </a:r>
          <a:endParaRPr lang="pt-BR" sz="1000" kern="1200" dirty="0"/>
        </a:p>
      </dsp:txBody>
      <dsp:txXfrm rot="10800000">
        <a:off x="183444" y="2927003"/>
        <a:ext cx="1253279" cy="284729"/>
      </dsp:txXfrm>
    </dsp:sp>
    <dsp:sp modelId="{CB3F50FB-BC09-4FF9-98A1-8A2966611E69}">
      <dsp:nvSpPr>
        <dsp:cNvPr id="0" name=""/>
        <dsp:cNvSpPr/>
      </dsp:nvSpPr>
      <dsp:spPr>
        <a:xfrm>
          <a:off x="223637" y="2927003"/>
          <a:ext cx="271785" cy="291900"/>
        </a:xfrm>
        <a:prstGeom prst="ellipse">
          <a:avLst/>
        </a:prstGeom>
        <a:blipFill>
          <a:blip xmlns:r="http://schemas.openxmlformats.org/officeDocument/2006/relationships"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7000" r="-5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01FFF7-5020-4280-B33F-27473DE5BC57}">
      <dsp:nvSpPr>
        <dsp:cNvPr id="0" name=""/>
        <dsp:cNvSpPr/>
      </dsp:nvSpPr>
      <dsp:spPr>
        <a:xfrm rot="10800000">
          <a:off x="183444" y="3332457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France</a:t>
          </a:r>
          <a:endParaRPr lang="pt-BR" sz="1100" kern="1200" dirty="0"/>
        </a:p>
      </dsp:txBody>
      <dsp:txXfrm rot="10800000">
        <a:off x="183444" y="3332457"/>
        <a:ext cx="1253279" cy="284729"/>
      </dsp:txXfrm>
    </dsp:sp>
    <dsp:sp modelId="{20A8C45F-2383-48EB-8FC2-A699C13C1C68}">
      <dsp:nvSpPr>
        <dsp:cNvPr id="0" name=""/>
        <dsp:cNvSpPr/>
      </dsp:nvSpPr>
      <dsp:spPr>
        <a:xfrm>
          <a:off x="223637" y="3332457"/>
          <a:ext cx="271785" cy="291900"/>
        </a:xfrm>
        <a:prstGeom prst="ellipse">
          <a:avLst/>
        </a:prstGeom>
        <a:blipFill rotWithShape="1">
          <a:blip xmlns:r="http://schemas.openxmlformats.org/officeDocument/2006/relationships" r:embed="rId9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0F45FD-E5D6-4F9E-9DB7-EDA99916D97B}">
      <dsp:nvSpPr>
        <dsp:cNvPr id="0" name=""/>
        <dsp:cNvSpPr/>
      </dsp:nvSpPr>
      <dsp:spPr>
        <a:xfrm rot="10800000">
          <a:off x="183444" y="3743944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Canada</a:t>
          </a:r>
          <a:endParaRPr lang="pt-BR" sz="1000" kern="1200" dirty="0"/>
        </a:p>
      </dsp:txBody>
      <dsp:txXfrm rot="10800000">
        <a:off x="183444" y="3743944"/>
        <a:ext cx="1253279" cy="284729"/>
      </dsp:txXfrm>
    </dsp:sp>
    <dsp:sp modelId="{DC06FD3C-FB73-490B-88CF-EFCF812B054D}">
      <dsp:nvSpPr>
        <dsp:cNvPr id="0" name=""/>
        <dsp:cNvSpPr/>
      </dsp:nvSpPr>
      <dsp:spPr>
        <a:xfrm>
          <a:off x="223637" y="3743944"/>
          <a:ext cx="271785" cy="291900"/>
        </a:xfrm>
        <a:prstGeom prst="ellipse">
          <a:avLst/>
        </a:prstGeom>
        <a:blipFill rotWithShape="0">
          <a:blip xmlns:r="http://schemas.openxmlformats.org/officeDocument/2006/relationships" r:embed="rId10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7351BB-0248-4E74-B1C5-A037F9ECF0CD}">
      <dsp:nvSpPr>
        <dsp:cNvPr id="0" name=""/>
        <dsp:cNvSpPr/>
      </dsp:nvSpPr>
      <dsp:spPr>
        <a:xfrm rot="10800000">
          <a:off x="199699" y="4133863"/>
          <a:ext cx="1253279" cy="28472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38100" rIns="648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00" kern="1200" dirty="0" smtClean="0"/>
            <a:t>Indonesia</a:t>
          </a:r>
          <a:endParaRPr lang="pt-BR" sz="1000" kern="1200" dirty="0"/>
        </a:p>
      </dsp:txBody>
      <dsp:txXfrm rot="10800000">
        <a:off x="199699" y="4133863"/>
        <a:ext cx="1253279" cy="284729"/>
      </dsp:txXfrm>
    </dsp:sp>
    <dsp:sp modelId="{F10EAC5C-59B9-48DD-89A4-C949647FDAD9}">
      <dsp:nvSpPr>
        <dsp:cNvPr id="0" name=""/>
        <dsp:cNvSpPr/>
      </dsp:nvSpPr>
      <dsp:spPr>
        <a:xfrm>
          <a:off x="193833" y="4116631"/>
          <a:ext cx="336805" cy="300201"/>
        </a:xfrm>
        <a:prstGeom prst="ellipse">
          <a:avLst/>
        </a:prstGeom>
        <a:blipFill rotWithShape="1">
          <a:blip xmlns:r="http://schemas.openxmlformats.org/officeDocument/2006/relationships" r:embed="rId1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B9562-D763-42A3-BA37-7DC7A01252A8}">
      <dsp:nvSpPr>
        <dsp:cNvPr id="0" name=""/>
        <dsp:cNvSpPr/>
      </dsp:nvSpPr>
      <dsp:spPr>
        <a:xfrm rot="10800000">
          <a:off x="165774" y="408142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Russia</a:t>
          </a:r>
          <a:endParaRPr lang="pt-BR" sz="1100" kern="1200" dirty="0"/>
        </a:p>
      </dsp:txBody>
      <dsp:txXfrm rot="10800000">
        <a:off x="165774" y="408142"/>
        <a:ext cx="1178026" cy="354189"/>
      </dsp:txXfrm>
    </dsp:sp>
    <dsp:sp modelId="{A93D5A44-FF78-415A-AB8F-F99D453B4EF4}">
      <dsp:nvSpPr>
        <dsp:cNvPr id="0" name=""/>
        <dsp:cNvSpPr/>
      </dsp:nvSpPr>
      <dsp:spPr>
        <a:xfrm>
          <a:off x="241971" y="408142"/>
          <a:ext cx="338087" cy="363109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193084" y="822695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Australia</a:t>
          </a:r>
          <a:endParaRPr lang="pt-BR" sz="1100" kern="1200" dirty="0"/>
        </a:p>
      </dsp:txBody>
      <dsp:txXfrm rot="10800000">
        <a:off x="193084" y="822695"/>
        <a:ext cx="1178026" cy="354189"/>
      </dsp:txXfrm>
    </dsp:sp>
    <dsp:sp modelId="{3376CF8E-261A-4906-A83E-CC3CB1AA16F1}">
      <dsp:nvSpPr>
        <dsp:cNvPr id="0" name=""/>
        <dsp:cNvSpPr/>
      </dsp:nvSpPr>
      <dsp:spPr>
        <a:xfrm>
          <a:off x="212713" y="822695"/>
          <a:ext cx="338087" cy="363109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56000" r="-5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ECB79-F2D9-4ADE-968D-7CAC081472A0}">
      <dsp:nvSpPr>
        <dsp:cNvPr id="0" name=""/>
        <dsp:cNvSpPr/>
      </dsp:nvSpPr>
      <dsp:spPr>
        <a:xfrm rot="10800000">
          <a:off x="193084" y="1334565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Germany</a:t>
          </a:r>
          <a:endParaRPr lang="pt-BR" sz="1100" kern="1200" dirty="0"/>
        </a:p>
      </dsp:txBody>
      <dsp:txXfrm rot="10800000">
        <a:off x="193084" y="1334565"/>
        <a:ext cx="1178026" cy="354189"/>
      </dsp:txXfrm>
    </dsp:sp>
    <dsp:sp modelId="{EAC25227-1C42-49D0-89BD-CCF4E667B392}">
      <dsp:nvSpPr>
        <dsp:cNvPr id="0" name=""/>
        <dsp:cNvSpPr/>
      </dsp:nvSpPr>
      <dsp:spPr>
        <a:xfrm>
          <a:off x="212713" y="1334565"/>
          <a:ext cx="338087" cy="363109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38000" r="-3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10B91D-C43A-46BB-8BA3-6C1AEEBC53CE}">
      <dsp:nvSpPr>
        <dsp:cNvPr id="0" name=""/>
        <dsp:cNvSpPr/>
      </dsp:nvSpPr>
      <dsp:spPr>
        <a:xfrm rot="10800000">
          <a:off x="193084" y="1846435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Taiwan</a:t>
          </a:r>
          <a:endParaRPr lang="pt-BR" sz="1100" kern="1200" dirty="0"/>
        </a:p>
      </dsp:txBody>
      <dsp:txXfrm rot="10800000">
        <a:off x="193084" y="1846435"/>
        <a:ext cx="1178026" cy="354189"/>
      </dsp:txXfrm>
    </dsp:sp>
    <dsp:sp modelId="{8E8FFB15-7249-41CC-87BE-02FF1CE2CA73}">
      <dsp:nvSpPr>
        <dsp:cNvPr id="0" name=""/>
        <dsp:cNvSpPr/>
      </dsp:nvSpPr>
      <dsp:spPr>
        <a:xfrm>
          <a:off x="200190" y="1858958"/>
          <a:ext cx="338087" cy="363109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193084" y="2358305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Italy</a:t>
          </a:r>
          <a:endParaRPr lang="pt-BR" sz="1100" kern="1200" dirty="0"/>
        </a:p>
      </dsp:txBody>
      <dsp:txXfrm rot="10800000">
        <a:off x="193084" y="2358305"/>
        <a:ext cx="1178026" cy="354189"/>
      </dsp:txXfrm>
    </dsp:sp>
    <dsp:sp modelId="{472A3E97-5AC7-4093-8C5C-CC4F5B343949}">
      <dsp:nvSpPr>
        <dsp:cNvPr id="0" name=""/>
        <dsp:cNvSpPr/>
      </dsp:nvSpPr>
      <dsp:spPr>
        <a:xfrm>
          <a:off x="212713" y="2358305"/>
          <a:ext cx="338087" cy="363109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854B4E-F91C-4772-9068-EF188564CC05}">
      <dsp:nvSpPr>
        <dsp:cNvPr id="0" name=""/>
        <dsp:cNvSpPr/>
      </dsp:nvSpPr>
      <dsp:spPr>
        <a:xfrm rot="10800000">
          <a:off x="193084" y="2870174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Netherlands</a:t>
          </a:r>
          <a:endParaRPr lang="pt-BR" sz="1100" kern="1200" dirty="0"/>
        </a:p>
      </dsp:txBody>
      <dsp:txXfrm rot="10800000">
        <a:off x="193084" y="2870174"/>
        <a:ext cx="1178026" cy="354189"/>
      </dsp:txXfrm>
    </dsp:sp>
    <dsp:sp modelId="{80055D65-0E23-405E-A3F7-A767BCABD384}">
      <dsp:nvSpPr>
        <dsp:cNvPr id="0" name=""/>
        <dsp:cNvSpPr/>
      </dsp:nvSpPr>
      <dsp:spPr>
        <a:xfrm>
          <a:off x="212713" y="2870174"/>
          <a:ext cx="338087" cy="363109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A76D21-409B-483D-B707-4D929A0EA6F0}">
      <dsp:nvSpPr>
        <dsp:cNvPr id="0" name=""/>
        <dsp:cNvSpPr/>
      </dsp:nvSpPr>
      <dsp:spPr>
        <a:xfrm rot="10800000">
          <a:off x="233149" y="3449662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Portugal</a:t>
          </a:r>
          <a:endParaRPr lang="pt-BR" sz="1100" kern="1200" dirty="0"/>
        </a:p>
      </dsp:txBody>
      <dsp:txXfrm rot="10800000">
        <a:off x="233149" y="3449662"/>
        <a:ext cx="1178026" cy="354189"/>
      </dsp:txXfrm>
    </dsp:sp>
    <dsp:sp modelId="{8B2F6F96-65C2-4C4A-B2F9-0EF40B51CC30}">
      <dsp:nvSpPr>
        <dsp:cNvPr id="0" name=""/>
        <dsp:cNvSpPr/>
      </dsp:nvSpPr>
      <dsp:spPr>
        <a:xfrm>
          <a:off x="77878" y="3377584"/>
          <a:ext cx="498345" cy="498345"/>
        </a:xfrm>
        <a:prstGeom prst="ellipse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DE99BE-E34F-40E4-9868-E214ED8B0A02}">
      <dsp:nvSpPr>
        <dsp:cNvPr id="0" name=""/>
        <dsp:cNvSpPr/>
      </dsp:nvSpPr>
      <dsp:spPr>
        <a:xfrm rot="10800000">
          <a:off x="193084" y="4029150"/>
          <a:ext cx="1178026" cy="354189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Saudi Arabia</a:t>
          </a:r>
          <a:endParaRPr lang="pt-BR" sz="1100" kern="1200" dirty="0"/>
        </a:p>
      </dsp:txBody>
      <dsp:txXfrm rot="10800000">
        <a:off x="193084" y="4029150"/>
        <a:ext cx="1178026" cy="354189"/>
      </dsp:txXfrm>
    </dsp:sp>
    <dsp:sp modelId="{4C24F84B-35F8-4159-9374-990BCAC38D6F}">
      <dsp:nvSpPr>
        <dsp:cNvPr id="0" name=""/>
        <dsp:cNvSpPr/>
      </dsp:nvSpPr>
      <dsp:spPr>
        <a:xfrm>
          <a:off x="212713" y="4029150"/>
          <a:ext cx="338087" cy="363109"/>
        </a:xfrm>
        <a:prstGeom prst="ellipse">
          <a:avLst/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8506B9-A2B7-4E21-85A9-E4688E606EE5}">
      <dsp:nvSpPr>
        <dsp:cNvPr id="0" name=""/>
        <dsp:cNvSpPr/>
      </dsp:nvSpPr>
      <dsp:spPr>
        <a:xfrm rot="10800000">
          <a:off x="214562" y="465565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Austria</a:t>
          </a:r>
          <a:endParaRPr lang="pt-BR" sz="1100" kern="1200" dirty="0"/>
        </a:p>
      </dsp:txBody>
      <dsp:txXfrm rot="10800000">
        <a:off x="214562" y="465565"/>
        <a:ext cx="1233829" cy="370967"/>
      </dsp:txXfrm>
    </dsp:sp>
    <dsp:sp modelId="{DDC251D1-2F5D-4BC9-B01F-2C8DB20D7805}">
      <dsp:nvSpPr>
        <dsp:cNvPr id="0" name=""/>
        <dsp:cNvSpPr/>
      </dsp:nvSpPr>
      <dsp:spPr>
        <a:xfrm>
          <a:off x="222790" y="465565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94D776-3AE0-4037-94E9-A0F6957146A3}">
      <dsp:nvSpPr>
        <dsp:cNvPr id="0" name=""/>
        <dsp:cNvSpPr/>
      </dsp:nvSpPr>
      <dsp:spPr>
        <a:xfrm rot="10800000">
          <a:off x="202231" y="1001682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Nigeria</a:t>
          </a:r>
          <a:endParaRPr lang="pt-BR" sz="1100" kern="1200" dirty="0"/>
        </a:p>
      </dsp:txBody>
      <dsp:txXfrm rot="10800000">
        <a:off x="202231" y="1001682"/>
        <a:ext cx="1233829" cy="370967"/>
      </dsp:txXfrm>
    </dsp:sp>
    <dsp:sp modelId="{AD7398DF-35D2-4429-9557-67D2E7E0D76C}">
      <dsp:nvSpPr>
        <dsp:cNvPr id="0" name=""/>
        <dsp:cNvSpPr/>
      </dsp:nvSpPr>
      <dsp:spPr>
        <a:xfrm>
          <a:off x="222790" y="1001682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BD35FC-5E59-4339-BE07-22819BAADE59}">
      <dsp:nvSpPr>
        <dsp:cNvPr id="0" name=""/>
        <dsp:cNvSpPr/>
      </dsp:nvSpPr>
      <dsp:spPr>
        <a:xfrm rot="10800000">
          <a:off x="202231" y="1537799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Sweden</a:t>
          </a:r>
          <a:endParaRPr lang="pt-BR" sz="1100" kern="1200" dirty="0"/>
        </a:p>
      </dsp:txBody>
      <dsp:txXfrm rot="10800000">
        <a:off x="202231" y="1537799"/>
        <a:ext cx="1233829" cy="370967"/>
      </dsp:txXfrm>
    </dsp:sp>
    <dsp:sp modelId="{2CA1FAD2-92BB-49DC-87A9-66FEDF4C7A11}">
      <dsp:nvSpPr>
        <dsp:cNvPr id="0" name=""/>
        <dsp:cNvSpPr/>
      </dsp:nvSpPr>
      <dsp:spPr>
        <a:xfrm>
          <a:off x="222790" y="1537799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202231" y="2073916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050" kern="1200" dirty="0" smtClean="0"/>
            <a:t>Switzerland</a:t>
          </a:r>
          <a:endParaRPr lang="pt-BR" sz="1050" kern="1200" dirty="0"/>
        </a:p>
      </dsp:txBody>
      <dsp:txXfrm rot="10800000">
        <a:off x="202231" y="2073916"/>
        <a:ext cx="1233829" cy="370967"/>
      </dsp:txXfrm>
    </dsp:sp>
    <dsp:sp modelId="{3376CF8E-261A-4906-A83E-CC3CB1AA16F1}">
      <dsp:nvSpPr>
        <dsp:cNvPr id="0" name=""/>
        <dsp:cNvSpPr/>
      </dsp:nvSpPr>
      <dsp:spPr>
        <a:xfrm>
          <a:off x="222790" y="2073916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ECB79-F2D9-4ADE-968D-7CAC081472A0}">
      <dsp:nvSpPr>
        <dsp:cNvPr id="0" name=""/>
        <dsp:cNvSpPr/>
      </dsp:nvSpPr>
      <dsp:spPr>
        <a:xfrm rot="10800000">
          <a:off x="202231" y="2610033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Cambodia</a:t>
          </a:r>
          <a:endParaRPr lang="pt-BR" sz="1100" kern="1200" dirty="0"/>
        </a:p>
      </dsp:txBody>
      <dsp:txXfrm rot="10800000">
        <a:off x="202231" y="2610033"/>
        <a:ext cx="1233829" cy="370967"/>
      </dsp:txXfrm>
    </dsp:sp>
    <dsp:sp modelId="{EAC25227-1C42-49D0-89BD-CCF4E667B392}">
      <dsp:nvSpPr>
        <dsp:cNvPr id="0" name=""/>
        <dsp:cNvSpPr/>
      </dsp:nvSpPr>
      <dsp:spPr>
        <a:xfrm>
          <a:off x="222790" y="2610033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10B91D-C43A-46BB-8BA3-6C1AEEBC53CE}">
      <dsp:nvSpPr>
        <dsp:cNvPr id="0" name=""/>
        <dsp:cNvSpPr/>
      </dsp:nvSpPr>
      <dsp:spPr>
        <a:xfrm rot="10800000">
          <a:off x="202231" y="3083516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Laos</a:t>
          </a:r>
          <a:endParaRPr lang="pt-BR" sz="1100" kern="1200" dirty="0"/>
        </a:p>
      </dsp:txBody>
      <dsp:txXfrm rot="10800000">
        <a:off x="202231" y="3083516"/>
        <a:ext cx="1233829" cy="370967"/>
      </dsp:txXfrm>
    </dsp:sp>
    <dsp:sp modelId="{8E8FFB15-7249-41CC-87BE-02FF1CE2CA73}">
      <dsp:nvSpPr>
        <dsp:cNvPr id="0" name=""/>
        <dsp:cNvSpPr/>
      </dsp:nvSpPr>
      <dsp:spPr>
        <a:xfrm>
          <a:off x="222790" y="3083516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202231" y="3544472"/>
          <a:ext cx="1233829" cy="370967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Philippines</a:t>
          </a:r>
          <a:endParaRPr lang="pt-BR" sz="1100" kern="1200" dirty="0"/>
        </a:p>
      </dsp:txBody>
      <dsp:txXfrm rot="10800000">
        <a:off x="202231" y="3544472"/>
        <a:ext cx="1233829" cy="370967"/>
      </dsp:txXfrm>
    </dsp:sp>
    <dsp:sp modelId="{472A3E97-5AC7-4093-8C5C-CC4F5B343949}">
      <dsp:nvSpPr>
        <dsp:cNvPr id="0" name=""/>
        <dsp:cNvSpPr/>
      </dsp:nvSpPr>
      <dsp:spPr>
        <a:xfrm>
          <a:off x="222790" y="3544472"/>
          <a:ext cx="354103" cy="380310"/>
        </a:xfrm>
        <a:prstGeom prst="ellipse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94D776-3AE0-4037-94E9-A0F6957146A3}">
      <dsp:nvSpPr>
        <dsp:cNvPr id="0" name=""/>
        <dsp:cNvSpPr/>
      </dsp:nvSpPr>
      <dsp:spPr>
        <a:xfrm rot="10800000">
          <a:off x="258672" y="834498"/>
          <a:ext cx="1182275" cy="44550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41910" rIns="78232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Norway</a:t>
          </a:r>
          <a:endParaRPr lang="pt-BR" sz="1100" kern="1200" dirty="0"/>
        </a:p>
      </dsp:txBody>
      <dsp:txXfrm rot="10800000">
        <a:off x="258672" y="834498"/>
        <a:ext cx="1182275" cy="445505"/>
      </dsp:txXfrm>
    </dsp:sp>
    <dsp:sp modelId="{AD7398DF-35D2-4429-9557-67D2E7E0D76C}">
      <dsp:nvSpPr>
        <dsp:cNvPr id="0" name=""/>
        <dsp:cNvSpPr/>
      </dsp:nvSpPr>
      <dsp:spPr>
        <a:xfrm>
          <a:off x="244053" y="868843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027DEE-C029-4975-877C-287AEE5DAEC8}">
      <dsp:nvSpPr>
        <dsp:cNvPr id="0" name=""/>
        <dsp:cNvSpPr/>
      </dsp:nvSpPr>
      <dsp:spPr>
        <a:xfrm rot="10800000">
          <a:off x="258672" y="1438266"/>
          <a:ext cx="1182275" cy="44550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6000" tIns="41910" rIns="78232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Hungary</a:t>
          </a:r>
          <a:endParaRPr lang="pt-BR" sz="1100" kern="1200" dirty="0"/>
        </a:p>
      </dsp:txBody>
      <dsp:txXfrm rot="10800000">
        <a:off x="258672" y="1438266"/>
        <a:ext cx="1182275" cy="445505"/>
      </dsp:txXfrm>
    </dsp:sp>
    <dsp:sp modelId="{4E2461F5-0275-4405-BE56-E51E3A7A5B03}">
      <dsp:nvSpPr>
        <dsp:cNvPr id="0" name=""/>
        <dsp:cNvSpPr/>
      </dsp:nvSpPr>
      <dsp:spPr>
        <a:xfrm>
          <a:off x="244053" y="1472611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B5F03D-5127-4B4F-8781-66AA1653AB7E}">
      <dsp:nvSpPr>
        <dsp:cNvPr id="0" name=""/>
        <dsp:cNvSpPr/>
      </dsp:nvSpPr>
      <dsp:spPr>
        <a:xfrm rot="10800000">
          <a:off x="205418" y="2046780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Czech</a:t>
          </a:r>
          <a:endParaRPr lang="pt-BR" sz="1100" kern="1200" dirty="0"/>
        </a:p>
      </dsp:txBody>
      <dsp:txXfrm rot="10800000">
        <a:off x="205418" y="2046780"/>
        <a:ext cx="1253279" cy="376815"/>
      </dsp:txXfrm>
    </dsp:sp>
    <dsp:sp modelId="{3376CF8E-261A-4906-A83E-CC3CB1AA16F1}">
      <dsp:nvSpPr>
        <dsp:cNvPr id="0" name=""/>
        <dsp:cNvSpPr/>
      </dsp:nvSpPr>
      <dsp:spPr>
        <a:xfrm>
          <a:off x="226302" y="2046780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ECB79-F2D9-4ADE-968D-7CAC081472A0}">
      <dsp:nvSpPr>
        <dsp:cNvPr id="0" name=""/>
        <dsp:cNvSpPr/>
      </dsp:nvSpPr>
      <dsp:spPr>
        <a:xfrm rot="10800000">
          <a:off x="205418" y="2591348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Israel</a:t>
          </a:r>
          <a:endParaRPr lang="pt-BR" sz="1100" kern="1200" dirty="0"/>
        </a:p>
      </dsp:txBody>
      <dsp:txXfrm rot="10800000">
        <a:off x="205418" y="2591348"/>
        <a:ext cx="1253279" cy="376815"/>
      </dsp:txXfrm>
    </dsp:sp>
    <dsp:sp modelId="{EAC25227-1C42-49D0-89BD-CCF4E667B392}">
      <dsp:nvSpPr>
        <dsp:cNvPr id="0" name=""/>
        <dsp:cNvSpPr/>
      </dsp:nvSpPr>
      <dsp:spPr>
        <a:xfrm>
          <a:off x="226302" y="2591348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10B91D-C43A-46BB-8BA3-6C1AEEBC53CE}">
      <dsp:nvSpPr>
        <dsp:cNvPr id="0" name=""/>
        <dsp:cNvSpPr/>
      </dsp:nvSpPr>
      <dsp:spPr>
        <a:xfrm rot="10800000">
          <a:off x="205418" y="3135917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Venezuela</a:t>
          </a:r>
          <a:endParaRPr lang="pt-BR" sz="1100" kern="1200" dirty="0"/>
        </a:p>
      </dsp:txBody>
      <dsp:txXfrm rot="10800000">
        <a:off x="205418" y="3135917"/>
        <a:ext cx="1253279" cy="376815"/>
      </dsp:txXfrm>
    </dsp:sp>
    <dsp:sp modelId="{8E8FFB15-7249-41CC-87BE-02FF1CE2CA73}">
      <dsp:nvSpPr>
        <dsp:cNvPr id="0" name=""/>
        <dsp:cNvSpPr/>
      </dsp:nvSpPr>
      <dsp:spPr>
        <a:xfrm>
          <a:off x="226302" y="3135917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205418" y="3680485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Egypt</a:t>
          </a:r>
          <a:endParaRPr lang="pt-BR" sz="1100" kern="1200" dirty="0"/>
        </a:p>
      </dsp:txBody>
      <dsp:txXfrm rot="10800000">
        <a:off x="205418" y="3680485"/>
        <a:ext cx="1253279" cy="376815"/>
      </dsp:txXfrm>
    </dsp:sp>
    <dsp:sp modelId="{472A3E97-5AC7-4093-8C5C-CC4F5B343949}">
      <dsp:nvSpPr>
        <dsp:cNvPr id="0" name=""/>
        <dsp:cNvSpPr/>
      </dsp:nvSpPr>
      <dsp:spPr>
        <a:xfrm>
          <a:off x="226302" y="3680485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B5F03D-5127-4B4F-8781-66AA1653AB7E}">
      <dsp:nvSpPr>
        <dsp:cNvPr id="0" name=""/>
        <dsp:cNvSpPr/>
      </dsp:nvSpPr>
      <dsp:spPr>
        <a:xfrm rot="10800000">
          <a:off x="205418" y="1170727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Pakistan</a:t>
          </a:r>
          <a:endParaRPr lang="pt-BR" sz="1100" kern="1200" dirty="0"/>
        </a:p>
      </dsp:txBody>
      <dsp:txXfrm rot="10800000">
        <a:off x="205418" y="1170727"/>
        <a:ext cx="1253279" cy="376815"/>
      </dsp:txXfrm>
    </dsp:sp>
    <dsp:sp modelId="{3376CF8E-261A-4906-A83E-CC3CB1AA16F1}">
      <dsp:nvSpPr>
        <dsp:cNvPr id="0" name=""/>
        <dsp:cNvSpPr/>
      </dsp:nvSpPr>
      <dsp:spPr>
        <a:xfrm>
          <a:off x="226302" y="1170727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2ECB79-F2D9-4ADE-968D-7CAC081472A0}">
      <dsp:nvSpPr>
        <dsp:cNvPr id="0" name=""/>
        <dsp:cNvSpPr/>
      </dsp:nvSpPr>
      <dsp:spPr>
        <a:xfrm rot="10800000">
          <a:off x="205418" y="1715295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Belgium</a:t>
          </a:r>
          <a:endParaRPr lang="pt-BR" sz="1100" kern="1200" dirty="0"/>
        </a:p>
      </dsp:txBody>
      <dsp:txXfrm rot="10800000">
        <a:off x="205418" y="1715295"/>
        <a:ext cx="1253279" cy="376815"/>
      </dsp:txXfrm>
    </dsp:sp>
    <dsp:sp modelId="{EAC25227-1C42-49D0-89BD-CCF4E667B392}">
      <dsp:nvSpPr>
        <dsp:cNvPr id="0" name=""/>
        <dsp:cNvSpPr/>
      </dsp:nvSpPr>
      <dsp:spPr>
        <a:xfrm>
          <a:off x="226302" y="1715295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10B91D-C43A-46BB-8BA3-6C1AEEBC53CE}">
      <dsp:nvSpPr>
        <dsp:cNvPr id="0" name=""/>
        <dsp:cNvSpPr/>
      </dsp:nvSpPr>
      <dsp:spPr>
        <a:xfrm rot="10800000">
          <a:off x="205418" y="2259864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Poland</a:t>
          </a:r>
          <a:endParaRPr lang="pt-BR" sz="1100" kern="1200" dirty="0"/>
        </a:p>
      </dsp:txBody>
      <dsp:txXfrm rot="10800000">
        <a:off x="205418" y="2259864"/>
        <a:ext cx="1253279" cy="376815"/>
      </dsp:txXfrm>
    </dsp:sp>
    <dsp:sp modelId="{8E8FFB15-7249-41CC-87BE-02FF1CE2CA73}">
      <dsp:nvSpPr>
        <dsp:cNvPr id="0" name=""/>
        <dsp:cNvSpPr/>
      </dsp:nvSpPr>
      <dsp:spPr>
        <a:xfrm>
          <a:off x="226302" y="2259864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A9A23F-C721-4779-BD70-16DAAFF968E9}">
      <dsp:nvSpPr>
        <dsp:cNvPr id="0" name=""/>
        <dsp:cNvSpPr/>
      </dsp:nvSpPr>
      <dsp:spPr>
        <a:xfrm rot="10800000">
          <a:off x="205418" y="2804432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Kuwait</a:t>
          </a:r>
          <a:endParaRPr lang="pt-BR" sz="1100" kern="1200" dirty="0"/>
        </a:p>
      </dsp:txBody>
      <dsp:txXfrm rot="10800000">
        <a:off x="205418" y="2804432"/>
        <a:ext cx="1253279" cy="376815"/>
      </dsp:txXfrm>
    </dsp:sp>
    <dsp:sp modelId="{472A3E97-5AC7-4093-8C5C-CC4F5B343949}">
      <dsp:nvSpPr>
        <dsp:cNvPr id="0" name=""/>
        <dsp:cNvSpPr/>
      </dsp:nvSpPr>
      <dsp:spPr>
        <a:xfrm>
          <a:off x="226302" y="2804432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854B4E-F91C-4772-9068-EF188564CC05}">
      <dsp:nvSpPr>
        <dsp:cNvPr id="0" name=""/>
        <dsp:cNvSpPr/>
      </dsp:nvSpPr>
      <dsp:spPr>
        <a:xfrm rot="10800000">
          <a:off x="205418" y="3349001"/>
          <a:ext cx="1253279" cy="376815"/>
        </a:xfrm>
        <a:prstGeom prst="flowChartProcess">
          <a:avLst/>
        </a:prstGeom>
        <a:solidFill>
          <a:srgbClr val="0060A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68000" tIns="41910" rIns="6480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100" kern="1200" dirty="0" smtClean="0"/>
            <a:t>Romania</a:t>
          </a:r>
          <a:endParaRPr lang="pt-BR" sz="1100" kern="1200" dirty="0"/>
        </a:p>
      </dsp:txBody>
      <dsp:txXfrm rot="10800000">
        <a:off x="205418" y="3349001"/>
        <a:ext cx="1253279" cy="376815"/>
      </dsp:txXfrm>
    </dsp:sp>
    <dsp:sp modelId="{80055D65-0E23-405E-A3F7-A767BCABD384}">
      <dsp:nvSpPr>
        <dsp:cNvPr id="0" name=""/>
        <dsp:cNvSpPr/>
      </dsp:nvSpPr>
      <dsp:spPr>
        <a:xfrm>
          <a:off x="226302" y="3349001"/>
          <a:ext cx="359685" cy="386305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#4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3#5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3#6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3#6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43BF7D-1C16-D84D-8535-4BFE5B3E3C6B}" type="datetimeFigureOut">
              <a:rPr lang="en-US" smtClean="0"/>
              <a:pPr/>
              <a:t>7/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8B539E-5760-0544-8288-45BF56CFF0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9707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 smtClean="0"/>
              <a:t>Click to edit Master text styles</a:t>
            </a:r>
          </a:p>
          <a:p>
            <a:pPr lvl="1"/>
            <a:r>
              <a:rPr lang="en-US" altLang="zh-CN" noProof="0" smtClean="0"/>
              <a:t>Second level</a:t>
            </a:r>
          </a:p>
          <a:p>
            <a:pPr lvl="2"/>
            <a:r>
              <a:rPr lang="en-US" altLang="zh-CN" noProof="0" smtClean="0"/>
              <a:t>Third level</a:t>
            </a:r>
          </a:p>
          <a:p>
            <a:pPr lvl="3"/>
            <a:r>
              <a:rPr lang="en-US" altLang="zh-CN" noProof="0" smtClean="0"/>
              <a:t>Fourth level</a:t>
            </a:r>
          </a:p>
          <a:p>
            <a:pPr lvl="4"/>
            <a:r>
              <a:rPr lang="en-US" altLang="zh-CN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D27E677-80D8-44D4-9135-79D7296073D3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6288036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5DC6FD1B-1DED-4B32-B1ED-99ABA8C33242}" type="slidenum">
              <a:rPr lang="zh-CN" altLang="en-US" smtClean="0"/>
              <a:pPr eaLnBrk="1" hangingPunct="1">
                <a:defRPr/>
              </a:pPr>
              <a:t>1</a:t>
            </a:fld>
            <a:endParaRPr lang="en-US" altLang="zh-CN" dirty="0" smtClean="0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30238"/>
            <a:ext cx="4572000" cy="3429000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5913" y="4225925"/>
            <a:ext cx="6281737" cy="4446588"/>
          </a:xfrm>
          <a:noFill/>
          <a:ln/>
        </p:spPr>
        <p:txBody>
          <a:bodyPr/>
          <a:lstStyle/>
          <a:p>
            <a:pPr eaLnBrk="1" hangingPunct="1"/>
            <a:endParaRPr lang="zh-CN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854" indent="-285713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852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99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13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274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415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55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69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96C7C6-9E76-4D97-93FF-19B1E06C029D}" type="slidenum">
              <a:rPr lang="en-US" altLang="en-US" sz="120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33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854" indent="-285713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852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99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13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274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415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55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69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96C7C6-9E76-4D97-93FF-19B1E06C029D}" type="slidenum">
              <a:rPr lang="en-US" altLang="en-US" sz="120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854" indent="-285713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852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99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13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274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415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55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69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96C7C6-9E76-4D97-93FF-19B1E06C029D}" type="slidenum">
              <a:rPr lang="en-US" altLang="en-US" sz="120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06E614-BE6F-4A0A-A765-2A7F96F86D7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44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854" indent="-285713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852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99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13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274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415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55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69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96C7C6-9E76-4D97-93FF-19B1E06C029D}" type="slidenum">
              <a:rPr lang="en-US" altLang="en-US" sz="120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6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06E614-BE6F-4A0A-A765-2A7F96F86D7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44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854" indent="-285713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2852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59999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133" indent="-228571" defTabSz="922219" eaLnBrk="0" hangingPunct="0">
              <a:spcBef>
                <a:spcPct val="3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274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415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855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5696" indent="-228571" defTabSz="922219" eaLnBrk="0" fontAlgn="base" hangingPunct="0">
              <a:spcBef>
                <a:spcPct val="3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96C7C6-9E76-4D97-93FF-19B1E06C029D}" type="slidenum">
              <a:rPr lang="en-US" altLang="en-US" sz="120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26</a:t>
            </a:fld>
            <a:endParaRPr lang="en-US" altLang="en-US" sz="1200" dirty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pt-BR" alt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algn="r">
              <a:buNone/>
            </a:pPr>
            <a:fld id="{2934914B-8ACF-4E21-B13B-B95143AD8116}" type="slidenum">
              <a:rPr lang="en-US" sz="1200" b="0" i="0">
                <a:latin typeface="Arial"/>
                <a:ea typeface="+mn-ea"/>
                <a:cs typeface="+mn-cs"/>
              </a:rPr>
              <a:pPr algn="r">
                <a:buNone/>
              </a:pPr>
              <a:t>28</a:t>
            </a:fld>
            <a:endParaRPr lang="en-US" sz="1200" b="0" i="0">
              <a:latin typeface="Arial"/>
              <a:ea typeface="+mn-ea"/>
              <a:cs typeface="+mn-cs"/>
            </a:endParaRPr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30238"/>
            <a:ext cx="4572000" cy="3429000"/>
          </a:xfrm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5913" y="4225925"/>
            <a:ext cx="6281737" cy="4446588"/>
          </a:xfrm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pitchFamily="34" charset="0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20965554-88C6-4526-9E62-761D8780EF97}" type="slidenum">
              <a:rPr lang="zh-CN" altLang="en-US" smtClean="0"/>
              <a:pPr eaLnBrk="1" hangingPunct="1"/>
              <a:t>32</a:t>
            </a:fld>
            <a:endParaRPr lang="en-US" altLang="zh-CN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utterstock_239718910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940038" y="1735478"/>
            <a:ext cx="8426502" cy="743484"/>
          </a:xfrm>
          <a:prstGeom prst="rect">
            <a:avLst/>
          </a:prstGeom>
          <a:gradFill flip="none" rotWithShape="1">
            <a:gsLst>
              <a:gs pos="22000">
                <a:srgbClr val="2C2240">
                  <a:alpha val="74902"/>
                </a:srgbClr>
              </a:gs>
              <a:gs pos="80000">
                <a:schemeClr val="accent4">
                  <a:lumMod val="75000"/>
                  <a:alpha val="31000"/>
                </a:schemeClr>
              </a:gs>
            </a:gsLst>
            <a:lin ang="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 descr="tr_onsrc_hrz_rgb_wht_rev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82012" y="210038"/>
            <a:ext cx="2606467" cy="854921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962296" y="1836481"/>
            <a:ext cx="621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800" b="1" dirty="0" smtClean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23000"/>
                    </a:prstClr>
                  </a:outerShdw>
                </a:effectLst>
              </a:rPr>
              <a:t>GLOBAL TRADE </a:t>
            </a:r>
            <a:endParaRPr lang="en-US" sz="2800" b="1" dirty="0">
              <a:solidFill>
                <a:srgbClr val="FFC000"/>
              </a:solidFill>
              <a:effectLst>
                <a:outerShdw blurRad="50800" dist="38100" dir="2700000" algn="tl" rotWithShape="0">
                  <a:prstClr val="black">
                    <a:alpha val="23000"/>
                  </a:prstClr>
                </a:outerShdw>
              </a:effectLst>
            </a:endParaRPr>
          </a:p>
        </p:txBody>
      </p:sp>
      <p:pic>
        <p:nvPicPr>
          <p:cNvPr id="21" name="Picture 20" descr="Routes 2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61280" y="1470986"/>
            <a:ext cx="1460002" cy="13058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667000" y="23602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98220" y="6332283"/>
            <a:ext cx="457200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4DCF2-7CD2-4C30-829F-8386C605E224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667000" y="23602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98220" y="6332283"/>
            <a:ext cx="457200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67A04-5D67-4E41-9066-71EFF16E805E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utterstock_239718910.jpg"/>
          <p:cNvPicPr>
            <a:picLocks noChangeAspect="1"/>
          </p:cNvPicPr>
          <p:nvPr userDrawn="1"/>
        </p:nvPicPr>
        <p:blipFill>
          <a:blip r:embed="rId2" cstate="print">
            <a:lum bright="-69000" contrast="-76000"/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667000" y="23602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98220" y="6332283"/>
            <a:ext cx="457200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38907-EAE8-4FAD-8FC1-24396F90F6B7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667000" y="23602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98220" y="6332283"/>
            <a:ext cx="457200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5B9BE2-02D9-4174-8FC1-0D54342AE7C5}" type="slidenum">
              <a:rPr lang="zh-CN" altLang="en-US"/>
              <a:pPr>
                <a:defRPr/>
              </a:pPr>
              <a:t>‹#›</a:t>
            </a:fld>
            <a:endParaRPr lang="en-US" altLang="zh-CN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A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394450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4863" y="6394450"/>
            <a:ext cx="457200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74F59-F5E3-47FF-BF81-F2FBD12817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181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15900" y="1971833"/>
            <a:ext cx="7013238" cy="4069671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7" name="Marcador de texto 2"/>
          <p:cNvSpPr>
            <a:spLocks noGrp="1"/>
          </p:cNvSpPr>
          <p:nvPr>
            <p:ph type="body" idx="10" hasCustomPrompt="1"/>
          </p:nvPr>
        </p:nvSpPr>
        <p:spPr>
          <a:xfrm>
            <a:off x="217092" y="1287006"/>
            <a:ext cx="8668724" cy="538254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rgbClr val="FF800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25390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Box 2"/>
          <p:cNvSpPr txBox="1">
            <a:spLocks noChangeArrowheads="1"/>
          </p:cNvSpPr>
          <p:nvPr/>
        </p:nvSpPr>
        <p:spPr bwMode="auto">
          <a:xfrm>
            <a:off x="336550" y="1530350"/>
            <a:ext cx="21621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chemeClr val="tx2"/>
              </a:buClr>
              <a:buFontTx/>
              <a:buChar char="•"/>
              <a:defRPr/>
            </a:pPr>
            <a:endParaRPr lang="zh-CN" altLang="en-US" sz="2400">
              <a:ea typeface="宋体" pitchFamily="2" charset="-122"/>
              <a:cs typeface="+mn-cs"/>
            </a:endParaRPr>
          </a:p>
        </p:txBody>
      </p:sp>
      <p:sp>
        <p:nvSpPr>
          <p:cNvPr id="103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58078" y="96253"/>
            <a:ext cx="7369175" cy="767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itle </a:t>
            </a:r>
            <a:br>
              <a:rPr lang="en-US" altLang="zh-CN" dirty="0" smtClean="0"/>
            </a:br>
            <a:r>
              <a:rPr lang="en-US" altLang="zh-CN" dirty="0" smtClean="0"/>
              <a:t>style</a:t>
            </a:r>
          </a:p>
        </p:txBody>
      </p:sp>
      <p:sp>
        <p:nvSpPr>
          <p:cNvPr id="1033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1673" y="1270917"/>
            <a:ext cx="7910044" cy="4530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18288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ext styles</a:t>
            </a:r>
          </a:p>
          <a:p>
            <a:pPr lvl="1"/>
            <a:r>
              <a:rPr lang="en-US" altLang="zh-CN" dirty="0" smtClean="0"/>
              <a:t>Second level</a:t>
            </a:r>
          </a:p>
          <a:p>
            <a:pPr lvl="2"/>
            <a:r>
              <a:rPr lang="en-US" altLang="zh-CN" dirty="0" smtClean="0"/>
              <a:t>Third level</a:t>
            </a:r>
          </a:p>
          <a:p>
            <a:pPr lvl="3"/>
            <a:r>
              <a:rPr lang="en-US" altLang="zh-CN" dirty="0" smtClean="0"/>
              <a:t>Fourth level</a:t>
            </a:r>
          </a:p>
          <a:p>
            <a:pPr lvl="4"/>
            <a:r>
              <a:rPr lang="en-US" altLang="zh-CN" dirty="0" smtClean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115909" y="6180746"/>
            <a:ext cx="0" cy="53340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381000" y="6019800"/>
            <a:ext cx="8382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81000" y="917215"/>
            <a:ext cx="8382000" cy="0"/>
          </a:xfrm>
          <a:prstGeom prst="line">
            <a:avLst/>
          </a:prstGeom>
          <a:ln w="635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8463501" y="6331827"/>
            <a:ext cx="390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13DEA80-2D19-0C4F-90A3-9304613CD293}" type="slidenum">
              <a:rPr lang="en-US" sz="900" smtClean="0">
                <a:solidFill>
                  <a:schemeClr val="bg1">
                    <a:lumMod val="65000"/>
                  </a:schemeClr>
                </a:solidFill>
              </a:rPr>
              <a:pPr algn="r"/>
              <a:t>‹#›</a:t>
            </a:fld>
            <a:endParaRPr lang="en-US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2" name="Picture 11" descr="tr_onsrc_hrz_rgb_pos.png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273765" y="6135814"/>
            <a:ext cx="1771897" cy="58118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96" r:id="rId1"/>
    <p:sldLayoutId id="2147485326" r:id="rId2"/>
    <p:sldLayoutId id="2147485327" r:id="rId3"/>
    <p:sldLayoutId id="2147485329" r:id="rId4"/>
    <p:sldLayoutId id="2147485330" r:id="rId5"/>
    <p:sldLayoutId id="2147485332" r:id="rId6"/>
    <p:sldLayoutId id="2147485333" r:id="rId7"/>
    <p:sldLayoutId id="2147485397" r:id="rId8"/>
    <p:sldLayoutId id="214748539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168275" indent="-168275" algn="l" rtl="0" eaLnBrk="0" fontAlgn="base" hangingPunct="0">
        <a:spcBef>
          <a:spcPct val="5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25425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914400" indent="-171450" algn="l" rtl="0" eaLnBrk="0" fontAlgn="base" hangingPunct="0">
        <a:spcBef>
          <a:spcPct val="25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1485900" indent="-1143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943100" indent="-1143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6pPr>
      <a:lvl7pPr marL="2400300" indent="-1143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7pPr>
      <a:lvl8pPr marL="2857500" indent="-1143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8pPr>
      <a:lvl9pPr marL="3314700" indent="-1143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0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13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3.png"/><Relationship Id="rId12" Type="http://schemas.openxmlformats.org/officeDocument/2006/relationships/image" Target="../media/image1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0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9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1.png"/><Relationship Id="rId3" Type="http://schemas.openxmlformats.org/officeDocument/2006/relationships/image" Target="../media/image37.png"/><Relationship Id="rId7" Type="http://schemas.openxmlformats.org/officeDocument/2006/relationships/image" Target="../media/image20.png"/><Relationship Id="rId12" Type="http://schemas.openxmlformats.org/officeDocument/2006/relationships/image" Target="../media/image32.png"/><Relationship Id="rId17" Type="http://schemas.openxmlformats.org/officeDocument/2006/relationships/image" Target="../media/image45.png"/><Relationship Id="rId2" Type="http://schemas.openxmlformats.org/officeDocument/2006/relationships/image" Target="../media/image36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31.png"/><Relationship Id="rId5" Type="http://schemas.openxmlformats.org/officeDocument/2006/relationships/image" Target="../media/image38.png"/><Relationship Id="rId15" Type="http://schemas.openxmlformats.org/officeDocument/2006/relationships/image" Target="../media/image43.png"/><Relationship Id="rId10" Type="http://schemas.openxmlformats.org/officeDocument/2006/relationships/image" Target="../media/image25.png"/><Relationship Id="rId4" Type="http://schemas.openxmlformats.org/officeDocument/2006/relationships/image" Target="../media/image13.png"/><Relationship Id="rId9" Type="http://schemas.openxmlformats.org/officeDocument/2006/relationships/image" Target="../media/image40.png"/><Relationship Id="rId14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17.jpg"/><Relationship Id="rId7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54.png"/><Relationship Id="rId3" Type="http://schemas.openxmlformats.org/officeDocument/2006/relationships/image" Target="../media/image5.jpeg"/><Relationship Id="rId7" Type="http://schemas.openxmlformats.org/officeDocument/2006/relationships/image" Target="../media/image13.png"/><Relationship Id="rId12" Type="http://schemas.openxmlformats.org/officeDocument/2006/relationships/image" Target="../media/image53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52.png"/><Relationship Id="rId5" Type="http://schemas.openxmlformats.org/officeDocument/2006/relationships/image" Target="../media/image7.jpeg"/><Relationship Id="rId10" Type="http://schemas.openxmlformats.org/officeDocument/2006/relationships/image" Target="../media/image51.jpeg"/><Relationship Id="rId4" Type="http://schemas.openxmlformats.org/officeDocument/2006/relationships/image" Target="../media/image6.jpeg"/><Relationship Id="rId9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slideLayout" Target="../slideLayouts/slideLayout8.xml"/><Relationship Id="rId18" Type="http://schemas.openxmlformats.org/officeDocument/2006/relationships/image" Target="../media/image59.jpeg"/><Relationship Id="rId26" Type="http://schemas.openxmlformats.org/officeDocument/2006/relationships/image" Target="../media/image67.png"/><Relationship Id="rId3" Type="http://schemas.openxmlformats.org/officeDocument/2006/relationships/tags" Target="../tags/tag5.xml"/><Relationship Id="rId21" Type="http://schemas.openxmlformats.org/officeDocument/2006/relationships/image" Target="../media/image62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58.jpeg"/><Relationship Id="rId25" Type="http://schemas.openxmlformats.org/officeDocument/2006/relationships/image" Target="../media/image66.gif"/><Relationship Id="rId2" Type="http://schemas.openxmlformats.org/officeDocument/2006/relationships/tags" Target="../tags/tag4.xml"/><Relationship Id="rId16" Type="http://schemas.openxmlformats.org/officeDocument/2006/relationships/image" Target="../media/image57.jpeg"/><Relationship Id="rId20" Type="http://schemas.openxmlformats.org/officeDocument/2006/relationships/image" Target="../media/image61.jpeg"/><Relationship Id="rId29" Type="http://schemas.openxmlformats.org/officeDocument/2006/relationships/image" Target="../media/image70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65.gif"/><Relationship Id="rId32" Type="http://schemas.openxmlformats.org/officeDocument/2006/relationships/image" Target="../media/image73.png"/><Relationship Id="rId5" Type="http://schemas.openxmlformats.org/officeDocument/2006/relationships/tags" Target="../tags/tag7.xml"/><Relationship Id="rId15" Type="http://schemas.openxmlformats.org/officeDocument/2006/relationships/image" Target="../media/image56.jpeg"/><Relationship Id="rId23" Type="http://schemas.openxmlformats.org/officeDocument/2006/relationships/image" Target="../media/image64.jpeg"/><Relationship Id="rId28" Type="http://schemas.openxmlformats.org/officeDocument/2006/relationships/image" Target="../media/image69.png"/><Relationship Id="rId10" Type="http://schemas.openxmlformats.org/officeDocument/2006/relationships/tags" Target="../tags/tag12.xml"/><Relationship Id="rId19" Type="http://schemas.openxmlformats.org/officeDocument/2006/relationships/image" Target="../media/image60.png"/><Relationship Id="rId31" Type="http://schemas.openxmlformats.org/officeDocument/2006/relationships/image" Target="../media/image72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5.jpeg"/><Relationship Id="rId22" Type="http://schemas.openxmlformats.org/officeDocument/2006/relationships/image" Target="../media/image63.png"/><Relationship Id="rId27" Type="http://schemas.openxmlformats.org/officeDocument/2006/relationships/image" Target="../media/image68.jpeg"/><Relationship Id="rId30" Type="http://schemas.openxmlformats.org/officeDocument/2006/relationships/image" Target="../media/image7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75.png"/><Relationship Id="rId4" Type="http://schemas.openxmlformats.org/officeDocument/2006/relationships/hyperlink" Target="http://ar.thomsonreuters.com/_files/pdf/IR_FactBook.pdf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3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53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52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51.jpeg"/><Relationship Id="rId4" Type="http://schemas.openxmlformats.org/officeDocument/2006/relationships/diagramLayout" Target="../diagrams/layout2.xml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79.png"/><Relationship Id="rId7" Type="http://schemas.openxmlformats.org/officeDocument/2006/relationships/image" Target="../media/image13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Relationship Id="rId9" Type="http://schemas.openxmlformats.org/officeDocument/2006/relationships/image" Target="../media/image2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" Type="http://schemas.openxmlformats.org/officeDocument/2006/relationships/diagramData" Target="../diagrams/data3.xml"/><Relationship Id="rId21" Type="http://schemas.openxmlformats.org/officeDocument/2006/relationships/diagramColors" Target="../diagrams/colors6.xml"/><Relationship Id="rId34" Type="http://schemas.openxmlformats.org/officeDocument/2006/relationships/diagramLayout" Target="../diagrams/layout9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33" Type="http://schemas.openxmlformats.org/officeDocument/2006/relationships/diagramData" Target="../diagrams/data9.xml"/><Relationship Id="rId38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29" Type="http://schemas.openxmlformats.org/officeDocument/2006/relationships/diagramLayout" Target="../diagrams/layout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32" Type="http://schemas.microsoft.com/office/2007/relationships/diagramDrawing" Target="../diagrams/drawing8.xml"/><Relationship Id="rId37" Type="http://schemas.microsoft.com/office/2007/relationships/diagramDrawing" Target="../diagrams/drawing9.xml"/><Relationship Id="rId5" Type="http://schemas.openxmlformats.org/officeDocument/2006/relationships/diagramQuickStyle" Target="../diagrams/quickStyle3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28" Type="http://schemas.openxmlformats.org/officeDocument/2006/relationships/diagramData" Target="../diagrams/data8.xml"/><Relationship Id="rId36" Type="http://schemas.openxmlformats.org/officeDocument/2006/relationships/diagramColors" Target="../diagrams/colors9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31" Type="http://schemas.openxmlformats.org/officeDocument/2006/relationships/diagramColors" Target="../diagrams/colors8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Relationship Id="rId30" Type="http://schemas.openxmlformats.org/officeDocument/2006/relationships/diagramQuickStyle" Target="../diagrams/quickStyle8.xml"/><Relationship Id="rId35" Type="http://schemas.openxmlformats.org/officeDocument/2006/relationships/diagramQuickStyle" Target="../diagrams/quickStyle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77421" y="5868537"/>
            <a:ext cx="8748215" cy="863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0774" y="6212930"/>
            <a:ext cx="2371725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891152350"/>
              </p:ext>
            </p:extLst>
          </p:nvPr>
        </p:nvGraphicFramePr>
        <p:xfrm>
          <a:off x="81879" y="954603"/>
          <a:ext cx="6080758" cy="5171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361287"/>
              </p:ext>
            </p:extLst>
          </p:nvPr>
        </p:nvGraphicFramePr>
        <p:xfrm>
          <a:off x="5985213" y="1301658"/>
          <a:ext cx="811369" cy="44778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1369"/>
              </a:tblGrid>
              <a:tr h="373156">
                <a:tc>
                  <a:txBody>
                    <a:bodyPr/>
                    <a:lstStyle/>
                    <a:p>
                      <a:pPr algn="ctr"/>
                      <a:r>
                        <a:rPr lang="en-ZA" sz="1100" b="1" dirty="0" smtClean="0"/>
                        <a:t>Average</a:t>
                      </a:r>
                      <a:endParaRPr lang="en-ZA" sz="1100" b="1" dirty="0"/>
                    </a:p>
                  </a:txBody>
                  <a:tcPr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Rounded Rectangular Callout 1"/>
          <p:cNvSpPr/>
          <p:nvPr/>
        </p:nvSpPr>
        <p:spPr>
          <a:xfrm>
            <a:off x="7083188" y="1815151"/>
            <a:ext cx="1965278" cy="1487607"/>
          </a:xfrm>
          <a:prstGeom prst="wedgeRoundRectCallout">
            <a:avLst>
              <a:gd name="adj1" fmla="val -56389"/>
              <a:gd name="adj2" fmla="val 35027"/>
              <a:gd name="adj3" fmla="val 16667"/>
            </a:avLst>
          </a:prstGeom>
          <a:solidFill>
            <a:srgbClr val="FF99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b="1" dirty="0" smtClean="0"/>
              <a:t>Conciencia en necesidad de implementar Tecnologías</a:t>
            </a:r>
            <a:endParaRPr lang="en-US" b="1" dirty="0"/>
          </a:p>
        </p:txBody>
      </p:sp>
      <p:sp>
        <p:nvSpPr>
          <p:cNvPr id="7" name="Oval 6"/>
          <p:cNvSpPr/>
          <p:nvPr/>
        </p:nvSpPr>
        <p:spPr>
          <a:xfrm>
            <a:off x="6022499" y="2047166"/>
            <a:ext cx="746791" cy="37303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6022499" y="2779595"/>
            <a:ext cx="746791" cy="37303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6022499" y="3509752"/>
            <a:ext cx="746791" cy="39351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6024771" y="3907816"/>
            <a:ext cx="746791" cy="39351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6038419" y="4289960"/>
            <a:ext cx="746791" cy="39351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6011123" y="4699400"/>
            <a:ext cx="746791" cy="39351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6024771" y="5409096"/>
            <a:ext cx="746791" cy="39351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56155" y="2274152"/>
            <a:ext cx="11197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095397" y="3022000"/>
            <a:ext cx="16430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295436" y="3759215"/>
            <a:ext cx="4429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158409" y="4067572"/>
            <a:ext cx="2953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595148" y="2277690"/>
            <a:ext cx="111975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08344" y="4886313"/>
            <a:ext cx="244424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716031" y="4432632"/>
            <a:ext cx="42274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074131" y="5640149"/>
            <a:ext cx="4997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12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P spid="2" grpId="0" animBg="1"/>
      <p:bldP spid="7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385303" y="69677"/>
            <a:ext cx="7369175" cy="836612"/>
          </a:xfrm>
        </p:spPr>
        <p:txBody>
          <a:bodyPr/>
          <a:lstStyle/>
          <a:p>
            <a:r>
              <a:rPr lang="es-MX" dirty="0" smtClean="0"/>
              <a:t>FLUJO MODELO IMPORTACION</a:t>
            </a:r>
            <a:endParaRPr lang="es-AR" dirty="0"/>
          </a:p>
        </p:txBody>
      </p:sp>
      <p:grpSp>
        <p:nvGrpSpPr>
          <p:cNvPr id="23" name="22 Grupo"/>
          <p:cNvGrpSpPr/>
          <p:nvPr/>
        </p:nvGrpSpPr>
        <p:grpSpPr>
          <a:xfrm>
            <a:off x="0" y="1498307"/>
            <a:ext cx="9144000" cy="3996727"/>
            <a:chOff x="0" y="944768"/>
            <a:chExt cx="9144000" cy="4391349"/>
          </a:xfrm>
        </p:grpSpPr>
        <p:cxnSp>
          <p:nvCxnSpPr>
            <p:cNvPr id="24" name="Conector reto 160"/>
            <p:cNvCxnSpPr/>
            <p:nvPr/>
          </p:nvCxnSpPr>
          <p:spPr>
            <a:xfrm>
              <a:off x="0" y="2636912"/>
              <a:ext cx="9144000" cy="0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angulado 125"/>
            <p:cNvCxnSpPr>
              <a:stCxn id="30" idx="0"/>
            </p:cNvCxnSpPr>
            <p:nvPr/>
          </p:nvCxnSpPr>
          <p:spPr>
            <a:xfrm flipV="1">
              <a:off x="4563295" y="1880784"/>
              <a:ext cx="0" cy="216112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Imagem 3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632" y="2710323"/>
              <a:ext cx="1224000" cy="47062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7" name="Retângulo 3"/>
            <p:cNvSpPr/>
            <p:nvPr/>
          </p:nvSpPr>
          <p:spPr>
            <a:xfrm>
              <a:off x="1200820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Orden de Importación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etângulo 5"/>
            <p:cNvSpPr/>
            <p:nvPr/>
          </p:nvSpPr>
          <p:spPr>
            <a:xfrm>
              <a:off x="3341644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viso de Tránsito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etângulo 6"/>
            <p:cNvSpPr/>
            <p:nvPr/>
          </p:nvSpPr>
          <p:spPr>
            <a:xfrm>
              <a:off x="6564812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Recepción Física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Retângulo 7"/>
            <p:cNvSpPr/>
            <p:nvPr/>
          </p:nvSpPr>
          <p:spPr>
            <a:xfrm>
              <a:off x="4088095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Pago al Proveedor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Retângulo 9"/>
            <p:cNvSpPr/>
            <p:nvPr/>
          </p:nvSpPr>
          <p:spPr>
            <a:xfrm>
              <a:off x="1200820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Orden de Importación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Retângulo 11"/>
            <p:cNvSpPr/>
            <p:nvPr/>
          </p:nvSpPr>
          <p:spPr>
            <a:xfrm>
              <a:off x="2456683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Factura Comercial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Retângulo 12"/>
            <p:cNvSpPr/>
            <p:nvPr/>
          </p:nvSpPr>
          <p:spPr>
            <a:xfrm>
              <a:off x="3694706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Conocimiento Transport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etângulo 13"/>
            <p:cNvSpPr/>
            <p:nvPr/>
          </p:nvSpPr>
          <p:spPr>
            <a:xfrm>
              <a:off x="2456683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Factura </a:t>
              </a:r>
            </a:p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Pro-Forma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Retângulo 14"/>
            <p:cNvSpPr/>
            <p:nvPr/>
          </p:nvSpPr>
          <p:spPr>
            <a:xfrm>
              <a:off x="2456683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nticipo al Proveedor</a:t>
              </a:r>
              <a:endPara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Retângulo 15"/>
            <p:cNvSpPr/>
            <p:nvPr/>
          </p:nvSpPr>
          <p:spPr>
            <a:xfrm>
              <a:off x="5510369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delant</a:t>
              </a:r>
              <a:r>
                <a:rPr lang="es-AR" sz="1000" b="1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o</a:t>
              </a:r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 Gasto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37" name="Conector angulado 17"/>
            <p:cNvCxnSpPr>
              <a:stCxn id="33" idx="3"/>
              <a:endCxn id="36" idx="2"/>
            </p:cNvCxnSpPr>
            <p:nvPr/>
          </p:nvCxnSpPr>
          <p:spPr>
            <a:xfrm flipV="1">
              <a:off x="4645106" y="3320944"/>
              <a:ext cx="1340463" cy="474791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angulado 19"/>
            <p:cNvCxnSpPr>
              <a:stCxn id="33" idx="0"/>
              <a:endCxn id="28" idx="2"/>
            </p:cNvCxnSpPr>
            <p:nvPr/>
          </p:nvCxnSpPr>
          <p:spPr>
            <a:xfrm rot="16200000" flipV="1">
              <a:off x="2864892" y="2292721"/>
              <a:ext cx="2256967" cy="353062"/>
            </a:xfrm>
            <a:prstGeom prst="bentConnector3">
              <a:avLst>
                <a:gd name="adj1" fmla="val 23998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de seta reta 30"/>
            <p:cNvCxnSpPr>
              <a:stCxn id="32" idx="3"/>
              <a:endCxn id="33" idx="1"/>
            </p:cNvCxnSpPr>
            <p:nvPr/>
          </p:nvCxnSpPr>
          <p:spPr>
            <a:xfrm>
              <a:off x="3407083" y="3795735"/>
              <a:ext cx="287623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2"/>
            <p:cNvCxnSpPr>
              <a:stCxn id="31" idx="3"/>
              <a:endCxn id="32" idx="1"/>
            </p:cNvCxnSpPr>
            <p:nvPr/>
          </p:nvCxnSpPr>
          <p:spPr>
            <a:xfrm>
              <a:off x="2151220" y="3795735"/>
              <a:ext cx="305463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de seta reta 34"/>
            <p:cNvCxnSpPr>
              <a:stCxn id="27" idx="2"/>
              <a:endCxn id="31" idx="0"/>
            </p:cNvCxnSpPr>
            <p:nvPr/>
          </p:nvCxnSpPr>
          <p:spPr>
            <a:xfrm>
              <a:off x="1676020" y="1340768"/>
              <a:ext cx="0" cy="225696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angulado 36"/>
            <p:cNvCxnSpPr>
              <a:stCxn id="31" idx="3"/>
              <a:endCxn id="34" idx="1"/>
            </p:cNvCxnSpPr>
            <p:nvPr/>
          </p:nvCxnSpPr>
          <p:spPr>
            <a:xfrm flipV="1">
              <a:off x="2151220" y="3122944"/>
              <a:ext cx="305463" cy="67279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Fluxograma: Documento 37"/>
            <p:cNvSpPr/>
            <p:nvPr/>
          </p:nvSpPr>
          <p:spPr>
            <a:xfrm>
              <a:off x="1913559" y="4149080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Instrucción de Embarqu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44" name="Conector de seta reta 39"/>
            <p:cNvCxnSpPr>
              <a:stCxn id="31" idx="2"/>
              <a:endCxn id="43" idx="1"/>
            </p:cNvCxnSpPr>
            <p:nvPr/>
          </p:nvCxnSpPr>
          <p:spPr>
            <a:xfrm rot="16200000" flipH="1">
              <a:off x="1618117" y="4051637"/>
              <a:ext cx="353345" cy="237539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de seta reta 41"/>
            <p:cNvCxnSpPr>
              <a:stCxn id="34" idx="0"/>
              <a:endCxn id="35" idx="2"/>
            </p:cNvCxnSpPr>
            <p:nvPr/>
          </p:nvCxnSpPr>
          <p:spPr>
            <a:xfrm flipV="1">
              <a:off x="2931883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de seta reta 43"/>
            <p:cNvCxnSpPr>
              <a:stCxn id="34" idx="2"/>
              <a:endCxn id="32" idx="0"/>
            </p:cNvCxnSpPr>
            <p:nvPr/>
          </p:nvCxnSpPr>
          <p:spPr>
            <a:xfrm>
              <a:off x="2931883" y="3320944"/>
              <a:ext cx="0" cy="276791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tângulo 45"/>
            <p:cNvSpPr/>
            <p:nvPr/>
          </p:nvSpPr>
          <p:spPr>
            <a:xfrm>
              <a:off x="6564118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Recepción Proceso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48" name="Conector de seta reta 47"/>
            <p:cNvCxnSpPr>
              <a:stCxn id="29" idx="2"/>
              <a:endCxn id="47" idx="0"/>
            </p:cNvCxnSpPr>
            <p:nvPr/>
          </p:nvCxnSpPr>
          <p:spPr>
            <a:xfrm flipH="1">
              <a:off x="7039318" y="1340768"/>
              <a:ext cx="694" cy="158417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angulado 49"/>
            <p:cNvCxnSpPr>
              <a:stCxn id="33" idx="0"/>
              <a:endCxn id="30" idx="2"/>
            </p:cNvCxnSpPr>
            <p:nvPr/>
          </p:nvCxnSpPr>
          <p:spPr>
            <a:xfrm rot="5400000" flipH="1" flipV="1">
              <a:off x="3814181" y="2848622"/>
              <a:ext cx="1104839" cy="39338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tângulo 52"/>
            <p:cNvSpPr/>
            <p:nvPr/>
          </p:nvSpPr>
          <p:spPr>
            <a:xfrm>
              <a:off x="7654048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Gastos Reale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Retângulo 59"/>
            <p:cNvSpPr/>
            <p:nvPr/>
          </p:nvSpPr>
          <p:spPr>
            <a:xfrm>
              <a:off x="7654048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Solicitud de Pago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52" name="Conector de seta reta 61"/>
            <p:cNvCxnSpPr>
              <a:stCxn id="50" idx="0"/>
              <a:endCxn id="51" idx="2"/>
            </p:cNvCxnSpPr>
            <p:nvPr/>
          </p:nvCxnSpPr>
          <p:spPr>
            <a:xfrm flipV="1">
              <a:off x="8129248" y="3320944"/>
              <a:ext cx="0" cy="276791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tângulo 62"/>
            <p:cNvSpPr/>
            <p:nvPr/>
          </p:nvSpPr>
          <p:spPr>
            <a:xfrm>
              <a:off x="7654048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Factura de Gastos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54" name="Conector angulado 65"/>
            <p:cNvCxnSpPr>
              <a:stCxn id="51" idx="0"/>
              <a:endCxn id="53" idx="2"/>
            </p:cNvCxnSpPr>
            <p:nvPr/>
          </p:nvCxnSpPr>
          <p:spPr>
            <a:xfrm flipV="1">
              <a:off x="8129248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tângulo 76"/>
            <p:cNvSpPr/>
            <p:nvPr/>
          </p:nvSpPr>
          <p:spPr>
            <a:xfrm>
              <a:off x="5510369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Solicitud </a:t>
              </a:r>
              <a:r>
                <a:rPr lang="es-AR" sz="9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delanto Gasto</a:t>
              </a:r>
            </a:p>
          </p:txBody>
        </p:sp>
        <p:cxnSp>
          <p:nvCxnSpPr>
            <p:cNvPr id="56" name="Conector de seta reta 78"/>
            <p:cNvCxnSpPr>
              <a:stCxn id="55" idx="3"/>
              <a:endCxn id="53" idx="1"/>
            </p:cNvCxnSpPr>
            <p:nvPr/>
          </p:nvCxnSpPr>
          <p:spPr>
            <a:xfrm>
              <a:off x="6460769" y="2294896"/>
              <a:ext cx="1193279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 de seta reta 84"/>
            <p:cNvCxnSpPr>
              <a:stCxn id="36" idx="0"/>
              <a:endCxn id="55" idx="2"/>
            </p:cNvCxnSpPr>
            <p:nvPr/>
          </p:nvCxnSpPr>
          <p:spPr>
            <a:xfrm flipV="1">
              <a:off x="5985569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de seta reta 128"/>
            <p:cNvCxnSpPr>
              <a:stCxn id="33" idx="3"/>
              <a:endCxn id="50" idx="1"/>
            </p:cNvCxnSpPr>
            <p:nvPr/>
          </p:nvCxnSpPr>
          <p:spPr>
            <a:xfrm>
              <a:off x="4645106" y="3795735"/>
              <a:ext cx="300894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tângulo 129"/>
            <p:cNvSpPr/>
            <p:nvPr/>
          </p:nvSpPr>
          <p:spPr>
            <a:xfrm>
              <a:off x="6576193" y="4149080"/>
              <a:ext cx="950400" cy="360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Declaración Importación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61" name="Conector angulado 135"/>
            <p:cNvCxnSpPr>
              <a:stCxn id="59" idx="0"/>
              <a:endCxn id="47" idx="2"/>
            </p:cNvCxnSpPr>
            <p:nvPr/>
          </p:nvCxnSpPr>
          <p:spPr>
            <a:xfrm flipH="1" flipV="1">
              <a:off x="7039318" y="3320944"/>
              <a:ext cx="12075" cy="82813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angulado 99"/>
            <p:cNvCxnSpPr>
              <a:stCxn id="86" idx="3"/>
              <a:endCxn id="35" idx="0"/>
            </p:cNvCxnSpPr>
            <p:nvPr/>
          </p:nvCxnSpPr>
          <p:spPr>
            <a:xfrm rot="10800000" flipV="1">
              <a:off x="2931884" y="1682257"/>
              <a:ext cx="1064053" cy="414639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de seta reta 102"/>
            <p:cNvCxnSpPr>
              <a:stCxn id="27" idx="3"/>
              <a:endCxn id="28" idx="1"/>
            </p:cNvCxnSpPr>
            <p:nvPr/>
          </p:nvCxnSpPr>
          <p:spPr>
            <a:xfrm>
              <a:off x="2151220" y="1142768"/>
              <a:ext cx="1190424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de seta reta 105"/>
            <p:cNvCxnSpPr>
              <a:stCxn id="28" idx="3"/>
              <a:endCxn id="29" idx="1"/>
            </p:cNvCxnSpPr>
            <p:nvPr/>
          </p:nvCxnSpPr>
          <p:spPr>
            <a:xfrm>
              <a:off x="4292044" y="1142768"/>
              <a:ext cx="2272768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Hexágono 132"/>
            <p:cNvSpPr/>
            <p:nvPr/>
          </p:nvSpPr>
          <p:spPr>
            <a:xfrm>
              <a:off x="4301249" y="4941168"/>
              <a:ext cx="938974" cy="394949"/>
            </a:xfrm>
            <a:prstGeom prst="hexagon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Solicitud Despacho</a:t>
              </a:r>
            </a:p>
          </p:txBody>
        </p:sp>
        <p:cxnSp>
          <p:nvCxnSpPr>
            <p:cNvPr id="79" name="Conector angulado 139"/>
            <p:cNvCxnSpPr>
              <a:stCxn id="33" idx="2"/>
              <a:endCxn id="78" idx="3"/>
            </p:cNvCxnSpPr>
            <p:nvPr/>
          </p:nvCxnSpPr>
          <p:spPr>
            <a:xfrm rot="16200000" flipH="1">
              <a:off x="3663123" y="4500517"/>
              <a:ext cx="1144908" cy="131343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Fluxograma: Documento 169"/>
            <p:cNvSpPr/>
            <p:nvPr/>
          </p:nvSpPr>
          <p:spPr>
            <a:xfrm>
              <a:off x="4759571" y="3959039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err="1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Check</a:t>
              </a:r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s-AR" sz="1000" b="1" dirty="0" err="1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Point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3" name="Fluxograma: Documento 170"/>
            <p:cNvSpPr/>
            <p:nvPr/>
          </p:nvSpPr>
          <p:spPr>
            <a:xfrm>
              <a:off x="4778279" y="4401152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Lead Tim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84" name="Conector angulado 171"/>
            <p:cNvCxnSpPr>
              <a:stCxn id="33" idx="2"/>
              <a:endCxn id="83" idx="1"/>
            </p:cNvCxnSpPr>
            <p:nvPr/>
          </p:nvCxnSpPr>
          <p:spPr>
            <a:xfrm rot="16200000" flipH="1">
              <a:off x="4171384" y="3992256"/>
              <a:ext cx="605417" cy="608373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angulado 172"/>
            <p:cNvCxnSpPr>
              <a:stCxn id="33" idx="2"/>
              <a:endCxn id="82" idx="1"/>
            </p:cNvCxnSpPr>
            <p:nvPr/>
          </p:nvCxnSpPr>
          <p:spPr>
            <a:xfrm rot="16200000" flipH="1">
              <a:off x="4383086" y="3780554"/>
              <a:ext cx="163304" cy="589665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Hexágono 178"/>
            <p:cNvSpPr/>
            <p:nvPr/>
          </p:nvSpPr>
          <p:spPr>
            <a:xfrm>
              <a:off x="3995936" y="1484783"/>
              <a:ext cx="1152128" cy="394948"/>
            </a:xfrm>
            <a:prstGeom prst="hexagon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Compensación  de Pago</a:t>
              </a:r>
              <a:endPara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3" name="2 CuadroTexto"/>
          <p:cNvSpPr txBox="1"/>
          <p:nvPr/>
        </p:nvSpPr>
        <p:spPr>
          <a:xfrm>
            <a:off x="0" y="1479529"/>
            <a:ext cx="866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P</a:t>
            </a:r>
            <a:endParaRPr lang="es-A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2816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9" name="Conector reto 160"/>
          <p:cNvCxnSpPr/>
          <p:nvPr/>
        </p:nvCxnSpPr>
        <p:spPr>
          <a:xfrm>
            <a:off x="-394" y="2852936"/>
            <a:ext cx="914400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0" name="Imagem 3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322" y="2936220"/>
            <a:ext cx="1079984" cy="4280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61" name="Retângulo 181">
            <a:hlinkClick r:id="" action="ppaction://noaction"/>
          </p:cNvPr>
          <p:cNvSpPr/>
          <p:nvPr/>
        </p:nvSpPr>
        <p:spPr>
          <a:xfrm>
            <a:off x="1294042" y="3288713"/>
            <a:ext cx="91576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rden de Exportación</a:t>
            </a:r>
          </a:p>
        </p:txBody>
      </p:sp>
      <p:sp>
        <p:nvSpPr>
          <p:cNvPr id="262" name="Retângulo 182">
            <a:hlinkClick r:id="" action="ppaction://noaction"/>
          </p:cNvPr>
          <p:cNvSpPr/>
          <p:nvPr/>
        </p:nvSpPr>
        <p:spPr>
          <a:xfrm>
            <a:off x="2446170" y="3288713"/>
            <a:ext cx="906630" cy="417078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oceso de Exportación</a:t>
            </a:r>
          </a:p>
        </p:txBody>
      </p:sp>
      <p:sp>
        <p:nvSpPr>
          <p:cNvPr id="263" name="Retângulo 183">
            <a:hlinkClick r:id="" action="ppaction://noaction"/>
          </p:cNvPr>
          <p:cNvSpPr/>
          <p:nvPr/>
        </p:nvSpPr>
        <p:spPr>
          <a:xfrm>
            <a:off x="3657600" y="3288714"/>
            <a:ext cx="899592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actura Comercial</a:t>
            </a:r>
          </a:p>
        </p:txBody>
      </p:sp>
      <p:sp>
        <p:nvSpPr>
          <p:cNvPr id="264" name="Retângulo 185">
            <a:hlinkClick r:id="" action="ppaction://noaction"/>
          </p:cNvPr>
          <p:cNvSpPr/>
          <p:nvPr/>
        </p:nvSpPr>
        <p:spPr>
          <a:xfrm>
            <a:off x="5334001" y="3443970"/>
            <a:ext cx="913554" cy="417078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ocimiento</a:t>
            </a:r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Embarque</a:t>
            </a:r>
          </a:p>
        </p:txBody>
      </p:sp>
      <p:sp>
        <p:nvSpPr>
          <p:cNvPr id="265" name="Retângulo 186">
            <a:hlinkClick r:id="" action="ppaction://noaction"/>
          </p:cNvPr>
          <p:cNvSpPr/>
          <p:nvPr/>
        </p:nvSpPr>
        <p:spPr>
          <a:xfrm>
            <a:off x="7239000" y="3789040"/>
            <a:ext cx="1008112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astos</a:t>
            </a:r>
          </a:p>
        </p:txBody>
      </p:sp>
      <p:sp>
        <p:nvSpPr>
          <p:cNvPr id="266" name="Retângulo 187">
            <a:hlinkClick r:id="" action="ppaction://noaction"/>
          </p:cNvPr>
          <p:cNvSpPr/>
          <p:nvPr/>
        </p:nvSpPr>
        <p:spPr>
          <a:xfrm>
            <a:off x="7772400" y="3011923"/>
            <a:ext cx="1008111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estación de Cuentas/Pago</a:t>
            </a:r>
          </a:p>
        </p:txBody>
      </p:sp>
      <p:cxnSp>
        <p:nvCxnSpPr>
          <p:cNvPr id="267" name="Conector de seta reta 189"/>
          <p:cNvCxnSpPr>
            <a:stCxn id="261" idx="3"/>
            <a:endCxn id="262" idx="1"/>
          </p:cNvCxnSpPr>
          <p:nvPr/>
        </p:nvCxnSpPr>
        <p:spPr>
          <a:xfrm>
            <a:off x="2209802" y="3497252"/>
            <a:ext cx="23636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Conector de seta reta 190"/>
          <p:cNvCxnSpPr>
            <a:stCxn id="262" idx="3"/>
            <a:endCxn id="263" idx="1"/>
          </p:cNvCxnSpPr>
          <p:nvPr/>
        </p:nvCxnSpPr>
        <p:spPr>
          <a:xfrm>
            <a:off x="3352800" y="3497252"/>
            <a:ext cx="304800" cy="1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Conector de seta reta 33"/>
          <p:cNvCxnSpPr>
            <a:stCxn id="263" idx="2"/>
            <a:endCxn id="314" idx="3"/>
          </p:cNvCxnSpPr>
          <p:nvPr/>
        </p:nvCxnSpPr>
        <p:spPr>
          <a:xfrm rot="16200000" flipH="1">
            <a:off x="3602241" y="4210946"/>
            <a:ext cx="1185649" cy="175338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Conector de seta reta 36"/>
          <p:cNvCxnSpPr>
            <a:stCxn id="263" idx="3"/>
            <a:endCxn id="264" idx="1"/>
          </p:cNvCxnSpPr>
          <p:nvPr/>
        </p:nvCxnSpPr>
        <p:spPr>
          <a:xfrm>
            <a:off x="4557192" y="3497253"/>
            <a:ext cx="776809" cy="1552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ector de seta reta 194"/>
          <p:cNvCxnSpPr>
            <a:stCxn id="265" idx="0"/>
            <a:endCxn id="266" idx="2"/>
          </p:cNvCxnSpPr>
          <p:nvPr/>
        </p:nvCxnSpPr>
        <p:spPr>
          <a:xfrm rot="5400000" flipH="1" flipV="1">
            <a:off x="7829736" y="3342320"/>
            <a:ext cx="360040" cy="53340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tângulo 196">
            <a:hlinkClick r:id="" action="ppaction://noaction"/>
          </p:cNvPr>
          <p:cNvSpPr/>
          <p:nvPr/>
        </p:nvSpPr>
        <p:spPr>
          <a:xfrm>
            <a:off x="2446170" y="3898825"/>
            <a:ext cx="90663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mbalaje</a:t>
            </a:r>
          </a:p>
        </p:txBody>
      </p:sp>
      <p:cxnSp>
        <p:nvCxnSpPr>
          <p:cNvPr id="274" name="Conector de seta reta 197"/>
          <p:cNvCxnSpPr>
            <a:stCxn id="262" idx="2"/>
            <a:endCxn id="273" idx="0"/>
          </p:cNvCxnSpPr>
          <p:nvPr/>
        </p:nvCxnSpPr>
        <p:spPr>
          <a:xfrm>
            <a:off x="2899485" y="3705791"/>
            <a:ext cx="0" cy="19303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Fluxograma: Documento 198">
            <a:hlinkClick r:id="" action="ppaction://noaction"/>
          </p:cNvPr>
          <p:cNvSpPr/>
          <p:nvPr/>
        </p:nvSpPr>
        <p:spPr>
          <a:xfrm>
            <a:off x="3124200" y="4959869"/>
            <a:ext cx="822176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ertificado de Origen</a:t>
            </a:r>
          </a:p>
        </p:txBody>
      </p:sp>
      <p:cxnSp>
        <p:nvCxnSpPr>
          <p:cNvPr id="276" name="Conector de seta reta 200"/>
          <p:cNvCxnSpPr>
            <a:stCxn id="261" idx="2"/>
            <a:endCxn id="298" idx="0"/>
          </p:cNvCxnSpPr>
          <p:nvPr/>
        </p:nvCxnSpPr>
        <p:spPr>
          <a:xfrm flipH="1">
            <a:off x="1751920" y="3705790"/>
            <a:ext cx="2" cy="22693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tângulo 202"/>
          <p:cNvSpPr/>
          <p:nvPr/>
        </p:nvSpPr>
        <p:spPr>
          <a:xfrm>
            <a:off x="1294041" y="2136010"/>
            <a:ext cx="915759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Orden de Venta</a:t>
            </a:r>
          </a:p>
        </p:txBody>
      </p:sp>
      <p:sp>
        <p:nvSpPr>
          <p:cNvPr id="278" name="Retângulo 203"/>
          <p:cNvSpPr/>
          <p:nvPr/>
        </p:nvSpPr>
        <p:spPr>
          <a:xfrm>
            <a:off x="2446171" y="2136010"/>
            <a:ext cx="906630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Delivery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9" name="Retângulo 204"/>
          <p:cNvSpPr/>
          <p:nvPr/>
        </p:nvSpPr>
        <p:spPr>
          <a:xfrm>
            <a:off x="3657600" y="2136010"/>
            <a:ext cx="899591" cy="423376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Factura</a:t>
            </a:r>
          </a:p>
        </p:txBody>
      </p:sp>
      <p:cxnSp>
        <p:nvCxnSpPr>
          <p:cNvPr id="280" name="Conector de seta reta 208"/>
          <p:cNvCxnSpPr>
            <a:stCxn id="266" idx="0"/>
            <a:endCxn id="310" idx="2"/>
          </p:cNvCxnSpPr>
          <p:nvPr/>
        </p:nvCxnSpPr>
        <p:spPr>
          <a:xfrm flipV="1">
            <a:off x="8276456" y="2006900"/>
            <a:ext cx="0" cy="100502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Conector de seta reta 210"/>
          <p:cNvCxnSpPr>
            <a:stCxn id="278" idx="2"/>
            <a:endCxn id="262" idx="0"/>
          </p:cNvCxnSpPr>
          <p:nvPr/>
        </p:nvCxnSpPr>
        <p:spPr>
          <a:xfrm flipH="1">
            <a:off x="2899485" y="2564904"/>
            <a:ext cx="1" cy="72380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Conector de seta reta 211"/>
          <p:cNvCxnSpPr>
            <a:stCxn id="277" idx="3"/>
            <a:endCxn id="278" idx="1"/>
          </p:cNvCxnSpPr>
          <p:nvPr/>
        </p:nvCxnSpPr>
        <p:spPr>
          <a:xfrm>
            <a:off x="2209800" y="2350457"/>
            <a:ext cx="236371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Conector de seta reta 212"/>
          <p:cNvCxnSpPr>
            <a:stCxn id="278" idx="3"/>
            <a:endCxn id="279" idx="1"/>
          </p:cNvCxnSpPr>
          <p:nvPr/>
        </p:nvCxnSpPr>
        <p:spPr>
          <a:xfrm flipV="1">
            <a:off x="3352801" y="2347698"/>
            <a:ext cx="304799" cy="275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ector de seta reta 216"/>
          <p:cNvCxnSpPr>
            <a:stCxn id="277" idx="2"/>
            <a:endCxn id="261" idx="0"/>
          </p:cNvCxnSpPr>
          <p:nvPr/>
        </p:nvCxnSpPr>
        <p:spPr>
          <a:xfrm>
            <a:off x="1751921" y="2564904"/>
            <a:ext cx="1" cy="72380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Conector de seta reta 99"/>
          <p:cNvCxnSpPr>
            <a:stCxn id="263" idx="2"/>
            <a:endCxn id="275" idx="3"/>
          </p:cNvCxnSpPr>
          <p:nvPr/>
        </p:nvCxnSpPr>
        <p:spPr>
          <a:xfrm rot="5400000">
            <a:off x="3295578" y="4356589"/>
            <a:ext cx="1462617" cy="161020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Fluxograma: Documento 222">
            <a:hlinkClick r:id="" action="ppaction://noaction"/>
          </p:cNvPr>
          <p:cNvSpPr/>
          <p:nvPr/>
        </p:nvSpPr>
        <p:spPr>
          <a:xfrm>
            <a:off x="3141404" y="4440842"/>
            <a:ext cx="822177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acking List</a:t>
            </a:r>
          </a:p>
        </p:txBody>
      </p:sp>
      <p:cxnSp>
        <p:nvCxnSpPr>
          <p:cNvPr id="287" name="Conector de seta reta 36"/>
          <p:cNvCxnSpPr>
            <a:stCxn id="263" idx="2"/>
            <a:endCxn id="286" idx="3"/>
          </p:cNvCxnSpPr>
          <p:nvPr/>
        </p:nvCxnSpPr>
        <p:spPr>
          <a:xfrm rot="5400000">
            <a:off x="3563694" y="4105679"/>
            <a:ext cx="943590" cy="143815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tângulo 226"/>
          <p:cNvSpPr/>
          <p:nvPr/>
        </p:nvSpPr>
        <p:spPr>
          <a:xfrm>
            <a:off x="5334000" y="2136010"/>
            <a:ext cx="913555" cy="417077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Liquidación Aduanera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89" name="Conector de seta reta 227"/>
          <p:cNvCxnSpPr>
            <a:stCxn id="264" idx="0"/>
            <a:endCxn id="288" idx="2"/>
          </p:cNvCxnSpPr>
          <p:nvPr/>
        </p:nvCxnSpPr>
        <p:spPr>
          <a:xfrm flipV="1">
            <a:off x="5790778" y="2553087"/>
            <a:ext cx="0" cy="89088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tângulo 228">
            <a:hlinkClick r:id="" action="ppaction://noaction"/>
          </p:cNvPr>
          <p:cNvSpPr/>
          <p:nvPr/>
        </p:nvSpPr>
        <p:spPr>
          <a:xfrm>
            <a:off x="5234744" y="4857919"/>
            <a:ext cx="861256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eclaración Exportación</a:t>
            </a:r>
          </a:p>
        </p:txBody>
      </p:sp>
      <p:cxnSp>
        <p:nvCxnSpPr>
          <p:cNvPr id="291" name="Conector de seta reta 50"/>
          <p:cNvCxnSpPr>
            <a:stCxn id="288" idx="1"/>
            <a:endCxn id="279" idx="3"/>
          </p:cNvCxnSpPr>
          <p:nvPr/>
        </p:nvCxnSpPr>
        <p:spPr>
          <a:xfrm flipH="1">
            <a:off x="4557191" y="2344549"/>
            <a:ext cx="776809" cy="314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tângulo 230">
            <a:hlinkClick r:id="" action="ppaction://noaction"/>
          </p:cNvPr>
          <p:cNvSpPr/>
          <p:nvPr/>
        </p:nvSpPr>
        <p:spPr>
          <a:xfrm>
            <a:off x="6629400" y="3011923"/>
            <a:ext cx="95040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delanto Gastos</a:t>
            </a:r>
          </a:p>
        </p:txBody>
      </p:sp>
      <p:cxnSp>
        <p:nvCxnSpPr>
          <p:cNvPr id="293" name="Conector de seta reta 76"/>
          <p:cNvCxnSpPr>
            <a:stCxn id="265" idx="0"/>
            <a:endCxn id="292" idx="2"/>
          </p:cNvCxnSpPr>
          <p:nvPr/>
        </p:nvCxnSpPr>
        <p:spPr>
          <a:xfrm rot="16200000" flipV="1">
            <a:off x="7243808" y="3289792"/>
            <a:ext cx="360040" cy="6384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ector de seta reta 233"/>
          <p:cNvCxnSpPr>
            <a:stCxn id="292" idx="0"/>
            <a:endCxn id="311" idx="2"/>
          </p:cNvCxnSpPr>
          <p:nvPr/>
        </p:nvCxnSpPr>
        <p:spPr>
          <a:xfrm flipV="1">
            <a:off x="7104600" y="2006900"/>
            <a:ext cx="0" cy="100502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ector de seta reta 245"/>
          <p:cNvCxnSpPr>
            <a:stCxn id="279" idx="2"/>
            <a:endCxn id="263" idx="0"/>
          </p:cNvCxnSpPr>
          <p:nvPr/>
        </p:nvCxnSpPr>
        <p:spPr>
          <a:xfrm>
            <a:off x="4107396" y="2559386"/>
            <a:ext cx="0" cy="729328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Fluxograma: Documento 246"/>
          <p:cNvSpPr/>
          <p:nvPr/>
        </p:nvSpPr>
        <p:spPr>
          <a:xfrm>
            <a:off x="6248400" y="4596099"/>
            <a:ext cx="853565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trucción </a:t>
            </a:r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mbarque</a:t>
            </a:r>
          </a:p>
        </p:txBody>
      </p:sp>
      <p:sp>
        <p:nvSpPr>
          <p:cNvPr id="297" name="Fluxograma: Documento 247"/>
          <p:cNvSpPr/>
          <p:nvPr/>
        </p:nvSpPr>
        <p:spPr>
          <a:xfrm>
            <a:off x="4305672" y="4167781"/>
            <a:ext cx="799728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actura </a:t>
            </a:r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mercial</a:t>
            </a:r>
          </a:p>
        </p:txBody>
      </p:sp>
      <p:sp>
        <p:nvSpPr>
          <p:cNvPr id="298" name="Fluxograma: Documento 248"/>
          <p:cNvSpPr/>
          <p:nvPr/>
        </p:nvSpPr>
        <p:spPr>
          <a:xfrm>
            <a:off x="1294040" y="3932722"/>
            <a:ext cx="915760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oforma</a:t>
            </a:r>
            <a:endParaRPr lang="es-AR" sz="1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99" name="Conector de seta reta 36"/>
          <p:cNvCxnSpPr>
            <a:stCxn id="263" idx="2"/>
            <a:endCxn id="297" idx="1"/>
          </p:cNvCxnSpPr>
          <p:nvPr/>
        </p:nvCxnSpPr>
        <p:spPr>
          <a:xfrm rot="16200000" flipH="1">
            <a:off x="3871270" y="3941917"/>
            <a:ext cx="670529" cy="198276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Conector de seta reta 104"/>
          <p:cNvCxnSpPr>
            <a:stCxn id="264" idx="2"/>
            <a:endCxn id="296" idx="1"/>
          </p:cNvCxnSpPr>
          <p:nvPr/>
        </p:nvCxnSpPr>
        <p:spPr>
          <a:xfrm rot="16200000" flipH="1">
            <a:off x="5547794" y="4104032"/>
            <a:ext cx="943590" cy="457622"/>
          </a:xfrm>
          <a:prstGeom prst="bentConnector2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1" name="Retângulo 251"/>
          <p:cNvSpPr/>
          <p:nvPr/>
        </p:nvSpPr>
        <p:spPr>
          <a:xfrm>
            <a:off x="2446171" y="1538134"/>
            <a:ext cx="906630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Picking</a:t>
            </a:r>
          </a:p>
          <a:p>
            <a:pPr algn="ctr"/>
            <a:r>
              <a:rPr lang="es-AR" sz="1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Packing</a:t>
            </a:r>
          </a:p>
        </p:txBody>
      </p:sp>
      <p:cxnSp>
        <p:nvCxnSpPr>
          <p:cNvPr id="302" name="Conector de seta reta 252"/>
          <p:cNvCxnSpPr>
            <a:stCxn id="278" idx="0"/>
            <a:endCxn id="301" idx="2"/>
          </p:cNvCxnSpPr>
          <p:nvPr/>
        </p:nvCxnSpPr>
        <p:spPr>
          <a:xfrm flipV="1">
            <a:off x="2899486" y="1967028"/>
            <a:ext cx="0" cy="16898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Fluxograma: Documento 253"/>
          <p:cNvSpPr/>
          <p:nvPr/>
        </p:nvSpPr>
        <p:spPr>
          <a:xfrm>
            <a:off x="6248400" y="4092043"/>
            <a:ext cx="853565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firmación Embarque</a:t>
            </a:r>
          </a:p>
        </p:txBody>
      </p:sp>
      <p:cxnSp>
        <p:nvCxnSpPr>
          <p:cNvPr id="304" name="Conector de seta reta 104"/>
          <p:cNvCxnSpPr>
            <a:stCxn id="264" idx="2"/>
            <a:endCxn id="303" idx="1"/>
          </p:cNvCxnSpPr>
          <p:nvPr/>
        </p:nvCxnSpPr>
        <p:spPr>
          <a:xfrm rot="16200000" flipH="1">
            <a:off x="5799822" y="3852004"/>
            <a:ext cx="439534" cy="457622"/>
          </a:xfrm>
          <a:prstGeom prst="bentConnector2">
            <a:avLst/>
          </a:prstGeom>
          <a:ln w="15875">
            <a:solidFill>
              <a:schemeClr val="bg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0" name="Retângulo 91"/>
          <p:cNvSpPr/>
          <p:nvPr/>
        </p:nvSpPr>
        <p:spPr>
          <a:xfrm>
            <a:off x="7772400" y="1610900"/>
            <a:ext cx="1008112" cy="396000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Factura de Gastos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1" name="Retângulo 92"/>
          <p:cNvSpPr/>
          <p:nvPr/>
        </p:nvSpPr>
        <p:spPr>
          <a:xfrm>
            <a:off x="6629400" y="1610900"/>
            <a:ext cx="950400" cy="396000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Solicitud </a:t>
            </a:r>
            <a:r>
              <a: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delanto Gasto</a:t>
            </a:r>
          </a:p>
        </p:txBody>
      </p:sp>
      <p:cxnSp>
        <p:nvCxnSpPr>
          <p:cNvPr id="312" name="Conector de seta reta 93"/>
          <p:cNvCxnSpPr>
            <a:stCxn id="311" idx="3"/>
            <a:endCxn id="310" idx="1"/>
          </p:cNvCxnSpPr>
          <p:nvPr/>
        </p:nvCxnSpPr>
        <p:spPr>
          <a:xfrm>
            <a:off x="7579800" y="1808900"/>
            <a:ext cx="1926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Hexágono 114"/>
          <p:cNvSpPr/>
          <p:nvPr/>
        </p:nvSpPr>
        <p:spPr>
          <a:xfrm>
            <a:off x="4282734" y="4693965"/>
            <a:ext cx="898866" cy="394949"/>
          </a:xfrm>
          <a:prstGeom prst="hexagon">
            <a:avLst>
              <a:gd name="adj" fmla="val 14181"/>
              <a:gd name="vf" fmla="val 115470"/>
            </a:avLst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licitud </a:t>
            </a:r>
            <a:r>
              <a:rPr lang="es-AR" sz="8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eclaración</a:t>
            </a:r>
            <a:endParaRPr lang="es-AR" sz="8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317" name="Conector de seta reta 33"/>
          <p:cNvCxnSpPr>
            <a:stCxn id="290" idx="0"/>
            <a:endCxn id="263" idx="2"/>
          </p:cNvCxnSpPr>
          <p:nvPr/>
        </p:nvCxnSpPr>
        <p:spPr>
          <a:xfrm rot="16200000" flipV="1">
            <a:off x="4310320" y="3502867"/>
            <a:ext cx="1152128" cy="1557976"/>
          </a:xfrm>
          <a:prstGeom prst="bentConnector3">
            <a:avLst>
              <a:gd name="adj1" fmla="val 72994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Conector de seta reta 36"/>
          <p:cNvCxnSpPr>
            <a:stCxn id="264" idx="3"/>
            <a:endCxn id="265" idx="1"/>
          </p:cNvCxnSpPr>
          <p:nvPr/>
        </p:nvCxnSpPr>
        <p:spPr>
          <a:xfrm>
            <a:off x="6247555" y="3652509"/>
            <a:ext cx="991445" cy="34507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61 CuadroTexto"/>
          <p:cNvSpPr txBox="1"/>
          <p:nvPr/>
        </p:nvSpPr>
        <p:spPr>
          <a:xfrm>
            <a:off x="0" y="1288457"/>
            <a:ext cx="866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P</a:t>
            </a:r>
          </a:p>
        </p:txBody>
      </p:sp>
      <p:sp>
        <p:nvSpPr>
          <p:cNvPr id="64" name="Retângulo 181">
            <a:hlinkClick r:id="" action="ppaction://noaction"/>
          </p:cNvPr>
          <p:cNvSpPr/>
          <p:nvPr/>
        </p:nvSpPr>
        <p:spPr>
          <a:xfrm>
            <a:off x="1295400" y="4572000"/>
            <a:ext cx="91576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trucciones de Embarque</a:t>
            </a:r>
            <a:endParaRPr lang="es-AR" sz="1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65" name="Conector de seta reta 216"/>
          <p:cNvCxnSpPr>
            <a:stCxn id="298" idx="2"/>
            <a:endCxn id="64" idx="0"/>
          </p:cNvCxnSpPr>
          <p:nvPr/>
        </p:nvCxnSpPr>
        <p:spPr>
          <a:xfrm>
            <a:off x="1751920" y="4322226"/>
            <a:ext cx="1360" cy="24977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1 Título"/>
          <p:cNvSpPr>
            <a:spLocks noGrp="1"/>
          </p:cNvSpPr>
          <p:nvPr>
            <p:ph type="title"/>
          </p:nvPr>
        </p:nvSpPr>
        <p:spPr>
          <a:xfrm>
            <a:off x="385303" y="69677"/>
            <a:ext cx="7369175" cy="836612"/>
          </a:xfrm>
        </p:spPr>
        <p:txBody>
          <a:bodyPr/>
          <a:lstStyle/>
          <a:p>
            <a:r>
              <a:rPr lang="es-MX" dirty="0" smtClean="0"/>
              <a:t>FLUJO MODELO EXPORTACION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49357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Isosceles Triangle 49"/>
          <p:cNvSpPr/>
          <p:nvPr/>
        </p:nvSpPr>
        <p:spPr>
          <a:xfrm>
            <a:off x="2054859" y="1790128"/>
            <a:ext cx="2811439" cy="3125337"/>
          </a:xfrm>
          <a:prstGeom prst="triangle">
            <a:avLst/>
          </a:prstGeom>
          <a:solidFill>
            <a:srgbClr val="FFC000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utomatización</a:t>
            </a:r>
            <a:r>
              <a:rPr lang="en-US" dirty="0" smtClean="0"/>
              <a:t> y </a:t>
            </a:r>
            <a:r>
              <a:rPr lang="en-US" dirty="0" err="1" smtClean="0"/>
              <a:t>Consolidación</a:t>
            </a:r>
            <a:endParaRPr lang="en-US" dirty="0"/>
          </a:p>
        </p:txBody>
      </p:sp>
      <p:pic>
        <p:nvPicPr>
          <p:cNvPr id="47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Isosceles Triangle 2"/>
          <p:cNvSpPr/>
          <p:nvPr/>
        </p:nvSpPr>
        <p:spPr>
          <a:xfrm rot="10800000">
            <a:off x="592251" y="1787856"/>
            <a:ext cx="2811439" cy="3125337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/>
          <p:cNvCxnSpPr/>
          <p:nvPr/>
        </p:nvCxnSpPr>
        <p:spPr>
          <a:xfrm>
            <a:off x="2827358" y="3332335"/>
            <a:ext cx="60323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2049422" y="4915503"/>
            <a:ext cx="648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268033" y="3863771"/>
            <a:ext cx="348017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Análisis de Procesos, </a:t>
            </a: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Planificación y pre-costeo,</a:t>
            </a:r>
          </a:p>
          <a:p>
            <a:r>
              <a:rPr lang="es-CL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Examen y/o Auditoria de 3PL</a:t>
            </a:r>
            <a:endParaRPr 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Mejora Continua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258929" y="1998539"/>
            <a:ext cx="34801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Ejecución de Procesos, </a:t>
            </a: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Carga de Datos, </a:t>
            </a: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Responder Consultas Status,</a:t>
            </a: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Reunir Información,</a:t>
            </a:r>
          </a:p>
          <a:p>
            <a:r>
              <a:rPr lang="es-CL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Elaboración de Reportes e Informes</a:t>
            </a:r>
            <a:endParaRPr 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TextBox 6"/>
          <p:cNvSpPr txBox="1">
            <a:spLocks noChangeAspect="1"/>
          </p:cNvSpPr>
          <p:nvPr/>
        </p:nvSpPr>
        <p:spPr>
          <a:xfrm>
            <a:off x="3998793" y="5195018"/>
            <a:ext cx="4883492" cy="63155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s-CL" sz="1600" b="1" dirty="0" smtClean="0">
                <a:solidFill>
                  <a:schemeClr val="bg1"/>
                </a:solidFill>
              </a:rPr>
              <a:t>Maximizar uso de Recursos Profesionales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s-CL" sz="1600" b="1" dirty="0" smtClean="0">
                <a:solidFill>
                  <a:schemeClr val="bg1"/>
                </a:solidFill>
              </a:rPr>
              <a:t>Agregar mas valor a la Compañía.</a:t>
            </a:r>
          </a:p>
        </p:txBody>
      </p:sp>
      <p:cxnSp>
        <p:nvCxnSpPr>
          <p:cNvPr id="9" name="Elbow Connector 8"/>
          <p:cNvCxnSpPr/>
          <p:nvPr/>
        </p:nvCxnSpPr>
        <p:spPr>
          <a:xfrm rot="16200000" flipH="1">
            <a:off x="3436891" y="5143872"/>
            <a:ext cx="503702" cy="237959"/>
          </a:xfrm>
          <a:prstGeom prst="bentConnector2">
            <a:avLst/>
          </a:prstGeom>
          <a:ln>
            <a:solidFill>
              <a:schemeClr val="bg1">
                <a:lumMod val="8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-486834" y="3334607"/>
            <a:ext cx="3304376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urved Right Arrow 14"/>
          <p:cNvSpPr/>
          <p:nvPr/>
        </p:nvSpPr>
        <p:spPr>
          <a:xfrm rot="18685640">
            <a:off x="2433807" y="3018516"/>
            <a:ext cx="446268" cy="1049415"/>
          </a:xfrm>
          <a:prstGeom prst="curvedRightArrow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6723" y="1187354"/>
            <a:ext cx="32247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dirty="0" smtClean="0">
                <a:solidFill>
                  <a:schemeClr val="bg1">
                    <a:lumMod val="50000"/>
                  </a:schemeClr>
                </a:solidFill>
              </a:rPr>
              <a:t>Distribución del Tiempo </a:t>
            </a:r>
          </a:p>
          <a:p>
            <a:pPr algn="ctr"/>
            <a:r>
              <a:rPr lang="es-CL" sz="1600" dirty="0" smtClean="0">
                <a:solidFill>
                  <a:schemeClr val="bg1">
                    <a:lumMod val="50000"/>
                  </a:schemeClr>
                </a:solidFill>
              </a:rPr>
              <a:t>Área Comercio Exterior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6" name="Picture 13" descr="Description: Routes 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4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926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3" grpId="0" animBg="1"/>
      <p:bldP spid="7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SISTEMA ACTUAL vs. GTM</a:t>
            </a:r>
            <a:endParaRPr lang="es-AR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0416366"/>
              </p:ext>
            </p:extLst>
          </p:nvPr>
        </p:nvGraphicFramePr>
        <p:xfrm>
          <a:off x="617316" y="1361812"/>
          <a:ext cx="8003195" cy="45161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93088"/>
                <a:gridCol w="3508510"/>
                <a:gridCol w="463778"/>
                <a:gridCol w="3537819"/>
              </a:tblGrid>
              <a:tr h="370840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/>
                        <a:t>Excel / Manual</a:t>
                      </a:r>
                      <a:r>
                        <a:rPr lang="en-US" baseline="0" noProof="0" dirty="0" smtClean="0"/>
                        <a:t> / </a:t>
                      </a:r>
                      <a:r>
                        <a:rPr lang="en-US" baseline="0" noProof="0" dirty="0" err="1" smtClean="0"/>
                        <a:t>Legados</a:t>
                      </a:r>
                      <a:endParaRPr lang="en-US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/>
                        <a:t>GLOBAL TRADE MANAGMENT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A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b="1" dirty="0">
                        <a:solidFill>
                          <a:schemeClr val="bg1"/>
                        </a:solidFill>
                        <a:latin typeface="Wingdings" pitchFamily="2" charset="2"/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baseline="0" noProof="0" dirty="0" smtClean="0"/>
                        <a:t>Carga manual de dato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Interfaces automáticas</a:t>
                      </a:r>
                      <a:r>
                        <a:rPr lang="es-AR" sz="1400" b="1" baseline="0" noProof="0" dirty="0" smtClean="0"/>
                        <a:t> (ERP)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Sin</a:t>
                      </a:r>
                      <a:r>
                        <a:rPr lang="es-AR" sz="1400" b="1" baseline="0" noProof="0" dirty="0" smtClean="0"/>
                        <a:t> reportes estadístico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err="1" smtClean="0"/>
                        <a:t>KPIs</a:t>
                      </a:r>
                      <a:r>
                        <a:rPr lang="es-AR" sz="1400" b="1" noProof="0" dirty="0" smtClean="0"/>
                        <a:t> y reportes</a:t>
                      </a:r>
                      <a:r>
                        <a:rPr lang="es-AR" sz="1400" b="1" baseline="0" noProof="0" dirty="0" smtClean="0"/>
                        <a:t> ilimitado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No permite </a:t>
                      </a:r>
                      <a:r>
                        <a:rPr lang="es-AR" sz="1400" b="1" baseline="0" noProof="0" dirty="0" smtClean="0"/>
                        <a:t>intercambio de datos con Socio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Intercambio de datos nativo entre Socio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baseline="0" noProof="0" dirty="0" smtClean="0"/>
                        <a:t>Información desactualizada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Sistema simple</a:t>
                      </a:r>
                      <a:r>
                        <a:rPr lang="es-AR" sz="1400" b="1" baseline="0" noProof="0" dirty="0" smtClean="0"/>
                        <a:t> para actualizar la información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400" b="1" noProof="0" dirty="0" smtClean="0"/>
                        <a:t>Costeo</a:t>
                      </a:r>
                      <a:r>
                        <a:rPr lang="es-AR" sz="1400" b="1" baseline="0" noProof="0" dirty="0" smtClean="0"/>
                        <a:t> basado en la factura del proveedor</a:t>
                      </a:r>
                      <a:endParaRPr lang="es-AR" sz="1400" b="1" noProof="0" dirty="0" smtClean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Cálculo</a:t>
                      </a:r>
                      <a:r>
                        <a:rPr lang="es-AR" sz="1400" b="1" baseline="0" noProof="0" dirty="0" smtClean="0"/>
                        <a:t> de costos automático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Sin cobertura</a:t>
                      </a:r>
                      <a:r>
                        <a:rPr lang="es-AR" sz="1400" b="1" baseline="0" noProof="0" dirty="0" smtClean="0"/>
                        <a:t> ante cambios legale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Cobertura ante actualizaciones legales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Utilidad</a:t>
                      </a:r>
                      <a:r>
                        <a:rPr lang="es-AR" sz="1400" b="1" baseline="0" noProof="0" dirty="0" smtClean="0"/>
                        <a:t> </a:t>
                      </a:r>
                      <a:r>
                        <a:rPr lang="es-AR" sz="1400" b="1" noProof="0" dirty="0" smtClean="0"/>
                        <a:t>exclusiva </a:t>
                      </a:r>
                      <a:r>
                        <a:rPr lang="es-AR" sz="1400" b="1" baseline="0" noProof="0" dirty="0" smtClean="0"/>
                        <a:t>para el departamento logístico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Envuelve a</a:t>
                      </a:r>
                      <a:r>
                        <a:rPr lang="es-AR" sz="1400" b="1" baseline="0" noProof="0" dirty="0" smtClean="0"/>
                        <a:t> todas las áreas de la Compañía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D</a:t>
                      </a:r>
                      <a:endParaRPr lang="es-AR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prst="relaxedInset"/>
                      <a:lightRig rig="flood" dir="t"/>
                    </a:cell3D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Solo cubre parte del proceso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2800" b="1" dirty="0" smtClean="0">
                          <a:solidFill>
                            <a:schemeClr val="bg1"/>
                          </a:solidFill>
                          <a:latin typeface="Wingdings" pitchFamily="2" charset="2"/>
                        </a:rPr>
                        <a:t>C</a:t>
                      </a:r>
                      <a:endParaRPr lang="es-AR" sz="28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AR" sz="1400" b="1" noProof="0" dirty="0" smtClean="0"/>
                        <a:t>Controla</a:t>
                      </a:r>
                      <a:r>
                        <a:rPr lang="en-US" sz="1400" b="1" noProof="0" dirty="0" smtClean="0"/>
                        <a:t> </a:t>
                      </a:r>
                      <a:r>
                        <a:rPr lang="es-AR" sz="1400" b="1" noProof="0" dirty="0" smtClean="0"/>
                        <a:t>todo el proceso</a:t>
                      </a:r>
                      <a:r>
                        <a:rPr lang="es-AR" sz="1400" b="1" baseline="0" noProof="0" dirty="0" smtClean="0"/>
                        <a:t> de importación / exportación</a:t>
                      </a:r>
                      <a:endParaRPr lang="es-AR" sz="1400" b="1" noProof="0" dirty="0"/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3" descr="Description: Routes 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5947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6919835"/>
              </p:ext>
            </p:extLst>
          </p:nvPr>
        </p:nvGraphicFramePr>
        <p:xfrm>
          <a:off x="343412" y="1021148"/>
          <a:ext cx="8533266" cy="49935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8297"/>
                <a:gridCol w="4244969"/>
              </a:tblGrid>
              <a:tr h="5805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Knowledge Bold"/>
                          <a:cs typeface="Knowledge Bold"/>
                        </a:rPr>
                        <a:t>PROCESO MANUAL </a:t>
                      </a:r>
                      <a:r>
                        <a:rPr lang="en-US" sz="1400" dirty="0" smtClean="0">
                          <a:latin typeface="Knowledge Bold"/>
                          <a:cs typeface="Knowledge Bold"/>
                        </a:rPr>
                        <a:t>/</a:t>
                      </a:r>
                      <a:r>
                        <a:rPr lang="en-US" sz="1400" baseline="0" dirty="0" smtClean="0">
                          <a:latin typeface="Knowledge Bold"/>
                          <a:cs typeface="Knowledge Bold"/>
                        </a:rPr>
                        <a:t> </a:t>
                      </a:r>
                      <a:r>
                        <a:rPr lang="en-US" sz="1400" baseline="0" dirty="0" smtClean="0">
                          <a:latin typeface="Knowledge Bold"/>
                          <a:cs typeface="Knowledge Bold"/>
                        </a:rPr>
                        <a:t>PLANILLAS DE CALCULO / SYS LEGADOS /  </a:t>
                      </a:r>
                      <a:endParaRPr lang="en-US" sz="1800" dirty="0">
                        <a:latin typeface="Knowledge Bold"/>
                        <a:cs typeface="Knowledge Bold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>
                          <a:latin typeface="Knowledge Bold"/>
                          <a:cs typeface="Knowledge Bold"/>
                        </a:rPr>
                        <a:t>Tecnología</a:t>
                      </a:r>
                      <a:r>
                        <a:rPr lang="en-US" sz="2000" dirty="0" smtClean="0">
                          <a:latin typeface="Knowledge Bold"/>
                          <a:cs typeface="Knowledge Bold"/>
                        </a:rPr>
                        <a:t> GTM</a:t>
                      </a:r>
                      <a:endParaRPr lang="en-US" sz="2000" dirty="0">
                        <a:latin typeface="Knowledge Bold"/>
                        <a:cs typeface="Knowledge Bold"/>
                      </a:endParaRPr>
                    </a:p>
                  </a:txBody>
                  <a:tcPr anchor="ctr">
                    <a:solidFill>
                      <a:srgbClr val="FF8000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        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Carga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manual de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Interface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automátic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(ERP)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        Sin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reportes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estadístic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KPl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y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reporte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limitado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        No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permite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intercambio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endParaRPr lang="en-US" sz="1600" dirty="0" smtClean="0">
                        <a:latin typeface="Knowledge Regular"/>
                        <a:cs typeface="Knowledge Regular"/>
                      </a:endParaRPr>
                    </a:p>
                    <a:p>
                      <a:r>
                        <a:rPr lang="en-US" sz="1600" baseline="0" dirty="0" smtClean="0">
                          <a:latin typeface="Knowledge Regular"/>
                          <a:cs typeface="Knowledge Regular"/>
                        </a:rPr>
                        <a:t>         con </a:t>
                      </a:r>
                      <a:r>
                        <a:rPr lang="en-US" sz="1600" baseline="0" dirty="0" err="1" smtClean="0">
                          <a:latin typeface="Knowledge Regular"/>
                          <a:cs typeface="Knowledge Regular"/>
                        </a:rPr>
                        <a:t>soci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Intercambi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nativ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ntre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Socio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Información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esactualizada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Sistema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simple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para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actualizar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la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nformación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ste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basad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n la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fac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l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veedor</a:t>
                      </a:r>
                      <a:r>
                        <a:rPr lang="en-US" sz="1600" baseline="0" dirty="0" smtClean="0"/>
                        <a:t>     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álcul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st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automátic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Sin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ber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ant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ambi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legale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ber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ant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ambi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legale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Utilidad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exclusiv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a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l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epartament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logístic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Envuelve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a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tod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l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áre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de la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compañia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Solo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ubre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parte del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ces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ntrol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tod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l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ceso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mportación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/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exportación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Picture 7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296" y="1611533"/>
            <a:ext cx="469900" cy="342900"/>
          </a:xfrm>
          <a:prstGeom prst="rect">
            <a:avLst/>
          </a:prstGeom>
        </p:spPr>
      </p:pic>
      <p:pic>
        <p:nvPicPr>
          <p:cNvPr id="9" name="Picture 8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726" y="1647821"/>
            <a:ext cx="469900" cy="342900"/>
          </a:xfrm>
          <a:prstGeom prst="rect">
            <a:avLst/>
          </a:prstGeom>
        </p:spPr>
      </p:pic>
      <p:pic>
        <p:nvPicPr>
          <p:cNvPr id="10" name="Picture 9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824" y="2137673"/>
            <a:ext cx="469900" cy="342900"/>
          </a:xfrm>
          <a:prstGeom prst="rect">
            <a:avLst/>
          </a:prstGeom>
        </p:spPr>
      </p:pic>
      <p:pic>
        <p:nvPicPr>
          <p:cNvPr id="11" name="Picture 10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224" y="2718248"/>
            <a:ext cx="469900" cy="342900"/>
          </a:xfrm>
          <a:prstGeom prst="rect">
            <a:avLst/>
          </a:prstGeom>
        </p:spPr>
      </p:pic>
      <p:pic>
        <p:nvPicPr>
          <p:cNvPr id="12" name="Picture 11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77" y="3316961"/>
            <a:ext cx="469900" cy="342900"/>
          </a:xfrm>
          <a:prstGeom prst="rect">
            <a:avLst/>
          </a:prstGeom>
        </p:spPr>
      </p:pic>
      <p:pic>
        <p:nvPicPr>
          <p:cNvPr id="13" name="Picture 12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824" y="3924503"/>
            <a:ext cx="469900" cy="342900"/>
          </a:xfrm>
          <a:prstGeom prst="rect">
            <a:avLst/>
          </a:prstGeom>
        </p:spPr>
      </p:pic>
      <p:pic>
        <p:nvPicPr>
          <p:cNvPr id="14" name="Picture 13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43" y="4459471"/>
            <a:ext cx="469900" cy="342900"/>
          </a:xfrm>
          <a:prstGeom prst="rect">
            <a:avLst/>
          </a:prstGeom>
        </p:spPr>
      </p:pic>
      <p:pic>
        <p:nvPicPr>
          <p:cNvPr id="15" name="Picture 14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44" y="5017079"/>
            <a:ext cx="469900" cy="342900"/>
          </a:xfrm>
          <a:prstGeom prst="rect">
            <a:avLst/>
          </a:prstGeom>
        </p:spPr>
      </p:pic>
      <p:pic>
        <p:nvPicPr>
          <p:cNvPr id="16" name="Picture 15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588" y="5597488"/>
            <a:ext cx="469900" cy="342900"/>
          </a:xfrm>
          <a:prstGeom prst="rect">
            <a:avLst/>
          </a:prstGeom>
        </p:spPr>
      </p:pic>
      <p:pic>
        <p:nvPicPr>
          <p:cNvPr id="17" name="Picture 16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157" y="2142332"/>
            <a:ext cx="469900" cy="342900"/>
          </a:xfrm>
          <a:prstGeom prst="rect">
            <a:avLst/>
          </a:prstGeom>
        </p:spPr>
      </p:pic>
      <p:pic>
        <p:nvPicPr>
          <p:cNvPr id="18" name="Picture 17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412" y="2689220"/>
            <a:ext cx="469900" cy="342900"/>
          </a:xfrm>
          <a:prstGeom prst="rect">
            <a:avLst/>
          </a:prstGeom>
        </p:spPr>
      </p:pic>
      <p:pic>
        <p:nvPicPr>
          <p:cNvPr id="19" name="Picture 18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555" y="3333215"/>
            <a:ext cx="469900" cy="342900"/>
          </a:xfrm>
          <a:prstGeom prst="rect">
            <a:avLst/>
          </a:prstGeom>
        </p:spPr>
      </p:pic>
      <p:pic>
        <p:nvPicPr>
          <p:cNvPr id="20" name="Picture 19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811" y="3875445"/>
            <a:ext cx="469900" cy="342900"/>
          </a:xfrm>
          <a:prstGeom prst="rect">
            <a:avLst/>
          </a:prstGeom>
        </p:spPr>
      </p:pic>
      <p:pic>
        <p:nvPicPr>
          <p:cNvPr id="21" name="Picture 20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668" y="4396771"/>
            <a:ext cx="469900" cy="342900"/>
          </a:xfrm>
          <a:prstGeom prst="rect">
            <a:avLst/>
          </a:prstGeom>
        </p:spPr>
      </p:pic>
      <p:pic>
        <p:nvPicPr>
          <p:cNvPr id="22" name="Picture 21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924" y="4979782"/>
            <a:ext cx="469900" cy="342900"/>
          </a:xfrm>
          <a:prstGeom prst="rect">
            <a:avLst/>
          </a:prstGeom>
        </p:spPr>
      </p:pic>
      <p:pic>
        <p:nvPicPr>
          <p:cNvPr id="23" name="Picture 22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180" y="5585757"/>
            <a:ext cx="469900" cy="342900"/>
          </a:xfrm>
          <a:prstGeom prst="rect">
            <a:avLst/>
          </a:prstGeom>
        </p:spPr>
      </p:pic>
      <p:pic>
        <p:nvPicPr>
          <p:cNvPr id="31" name="Picture 30" descr="thomsonreuters_imagotipo copi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85" y="6242303"/>
            <a:ext cx="2597915" cy="505567"/>
          </a:xfrm>
          <a:prstGeom prst="rect">
            <a:avLst/>
          </a:prstGeom>
        </p:spPr>
      </p:pic>
      <p:pic>
        <p:nvPicPr>
          <p:cNvPr id="32" name="Picture 31" descr="onesource_GT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723" y="6312807"/>
            <a:ext cx="3534705" cy="327480"/>
          </a:xfrm>
          <a:prstGeom prst="rect">
            <a:avLst/>
          </a:prstGeom>
        </p:spPr>
      </p:pic>
      <p:sp>
        <p:nvSpPr>
          <p:cNvPr id="25" name="1 Título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s-AR" dirty="0" smtClean="0"/>
              <a:t>SISTEMA ACTUAL vs. GTM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41548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genda</a:t>
            </a: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98526" y="1628775"/>
            <a:ext cx="7921918" cy="2708434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pt-BR" sz="2000" dirty="0">
                <a:solidFill>
                  <a:schemeClr val="bg1"/>
                </a:solidFill>
              </a:rPr>
              <a:t>ERPs y la GESTION DE </a:t>
            </a:r>
            <a:r>
              <a:rPr lang="en-US" altLang="pt-BR" sz="2000" dirty="0">
                <a:solidFill>
                  <a:schemeClr val="bg1"/>
                </a:solidFill>
              </a:rPr>
              <a:t>OPERACIONES </a:t>
            </a:r>
            <a:r>
              <a:rPr lang="en-US" altLang="pt-BR" sz="2000" dirty="0">
                <a:solidFill>
                  <a:schemeClr val="bg1"/>
                </a:solidFill>
              </a:rPr>
              <a:t>DE COMEX</a:t>
            </a:r>
          </a:p>
          <a:p>
            <a:r>
              <a:rPr lang="en-US" altLang="pt-BR" sz="2400" b="1" dirty="0">
                <a:solidFill>
                  <a:schemeClr val="tx2"/>
                </a:solidFill>
              </a:rPr>
              <a:t>ACERCA DE </a:t>
            </a:r>
            <a:r>
              <a:rPr lang="pt-BR" altLang="pt-BR" sz="2400" b="1" dirty="0">
                <a:solidFill>
                  <a:schemeClr val="tx2"/>
                </a:solidFill>
              </a:rPr>
              <a:t>GLOBAL </a:t>
            </a:r>
            <a:r>
              <a:rPr lang="pt-BR" altLang="pt-BR" sz="2400" b="1" dirty="0">
                <a:solidFill>
                  <a:schemeClr val="tx2"/>
                </a:solidFill>
              </a:rPr>
              <a:t>TRADE  </a:t>
            </a:r>
            <a:r>
              <a:rPr lang="pt-BR" altLang="pt-BR" sz="2400" b="1" dirty="0">
                <a:solidFill>
                  <a:schemeClr val="tx2"/>
                </a:solidFill>
              </a:rPr>
              <a:t>MANAGEMENT</a:t>
            </a:r>
            <a:endParaRPr lang="pt-BR" altLang="pt-BR" sz="2000" b="1" dirty="0">
              <a:solidFill>
                <a:schemeClr val="tx2"/>
              </a:solidFill>
            </a:endParaRP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ACERCA DE THOMSON REUTERS ONESOURCE GTM</a:t>
            </a:r>
            <a:endParaRPr lang="en-US" altLang="pt-BR" sz="2000" dirty="0">
              <a:solidFill>
                <a:schemeClr val="bg1"/>
              </a:solidFill>
            </a:endParaRP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PREGUNTAS</a:t>
            </a:r>
            <a:endParaRPr lang="pt-BR" altLang="pt-BR" sz="2000" dirty="0" smtClean="0">
              <a:solidFill>
                <a:schemeClr val="bg1"/>
              </a:solidFill>
            </a:endParaRPr>
          </a:p>
          <a:p>
            <a:endParaRPr lang="en-US" altLang="pt-BR" sz="2000" dirty="0" smtClean="0"/>
          </a:p>
          <a:p>
            <a:endParaRPr lang="en-US" altLang="pt-BR" sz="2000" dirty="0"/>
          </a:p>
        </p:txBody>
      </p:sp>
    </p:spTree>
    <p:extLst>
      <p:ext uri="{BB962C8B-B14F-4D97-AF65-F5344CB8AC3E}">
        <p14:creationId xmlns:p14="http://schemas.microsoft.com/office/powerpoint/2010/main" val="10180100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xagon 2"/>
          <p:cNvSpPr/>
          <p:nvPr/>
        </p:nvSpPr>
        <p:spPr>
          <a:xfrm>
            <a:off x="257562" y="5895833"/>
            <a:ext cx="8654426" cy="235637"/>
          </a:xfrm>
          <a:prstGeom prst="hexag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1320684" y="1813843"/>
            <a:ext cx="3626896" cy="3522260"/>
          </a:xfrm>
          <a:prstGeom prst="ellipse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GLOBAL </a:t>
            </a:r>
            <a:r>
              <a:rPr lang="es-AR" dirty="0" smtClean="0"/>
              <a:t>TRADE MANAGER </a:t>
            </a:r>
            <a:r>
              <a:rPr lang="es-AR" dirty="0" smtClean="0"/>
              <a:t>| SOLUTIONS SUITE</a:t>
            </a:r>
            <a:endParaRPr lang="es-AR" dirty="0"/>
          </a:p>
        </p:txBody>
      </p:sp>
      <p:pic>
        <p:nvPicPr>
          <p:cNvPr id="22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222" y="1677368"/>
            <a:ext cx="911469" cy="77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4876" y="2679958"/>
            <a:ext cx="935828" cy="967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290" y="2641124"/>
            <a:ext cx="1284400" cy="96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69" y="4132795"/>
            <a:ext cx="1385489" cy="975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103" y="4089098"/>
            <a:ext cx="1022763" cy="993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492" y="5034660"/>
            <a:ext cx="1421166" cy="987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1864581" y="1697128"/>
            <a:ext cx="1011540" cy="795287"/>
            <a:chOff x="1912081" y="1970253"/>
            <a:chExt cx="1011540" cy="795287"/>
          </a:xfrm>
        </p:grpSpPr>
        <p:pic>
          <p:nvPicPr>
            <p:cNvPr id="1034" name="Picture 1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6482" y="1970253"/>
              <a:ext cx="628664" cy="463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5" name="Picture 11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4375" y="2480986"/>
              <a:ext cx="999246" cy="284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/>
          </p:nvSpPr>
          <p:spPr>
            <a:xfrm>
              <a:off x="1912081" y="2237096"/>
              <a:ext cx="253805" cy="2527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158" y="1894707"/>
            <a:ext cx="630102" cy="643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3429000"/>
            <a:ext cx="656356" cy="649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472" y="4976336"/>
            <a:ext cx="610410" cy="616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6934200" y="1976896"/>
            <a:ext cx="178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INCREMENTA EFICIENCIA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47518" y="3472763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COSTOS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47516" y="4953000"/>
            <a:ext cx="18916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RIESGOS Y COMPLIANCE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6073257" y="1733266"/>
            <a:ext cx="0" cy="4068062"/>
          </a:xfrm>
          <a:prstGeom prst="line">
            <a:avLst/>
          </a:prstGeom>
          <a:ln w="317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 rot="16200000">
            <a:off x="4768869" y="2285587"/>
            <a:ext cx="22277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NEFICI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428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>
        <p14:reveal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8.33333E-7 -3.57077E-6 C 0.09618 -0.05666 0.20833 -0.00254 0.24983 0.12373 C 0.29149 0.24838 0.24757 0.39616 0.15208 0.45375 C 0.05573 0.50995 -0.0559 0.45444 -0.09757 0.32956 C -0.13941 0.20398 -0.09549 0.05666 8.33333E-7 -3.57077E-6 Z " pathEditMode="relative" rAng="-1439330" ptsTypes="fffff">
                                      <p:cBhvr>
                                        <p:cTn id="61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39" y="22664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72222E-6 2.07216E-6 C 0.09601 0.05041 0.14341 0.19681 0.10487 0.32724 C 0.06598 0.45721 -0.0434 0.52197 -0.13975 0.47248 C -0.23559 0.42229 -0.28177 0.27521 -0.24322 0.14454 C -0.20451 0.01387 -0.096 -0.05019 -4.72222E-6 2.07216E-6 Z " pathEditMode="relative" rAng="1293477" ptsTypes="fffff">
                                      <p:cBhvr>
                                        <p:cTn id="63" dur="5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44" y="23659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268 -0.02983 C 0.02291 0.10084 -0.02275 0.25185 -0.11788 0.30967 C -0.22031 0.36587 -0.33594 0.30597 -0.37483 0.179 C -0.41719 0.04741 -0.36945 -0.10245 -0.26788 -0.1598 C -0.16823 -0.21577 -0.05 -0.15633 -0.01268 -0.02983 Z " pathEditMode="relative" rAng="4027752" ptsTypes="fffff">
                                      <p:cBhvr>
                                        <p:cTn id="65" dur="50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021" y="10476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087 -0.0266 C -0.04357 0.10314 -0.16007 0.1598 -0.26059 0.09944 C -0.36024 0.03931 -0.40434 -0.11425 -0.36076 -0.24561 C -0.31632 -0.37419 -0.2 -0.43016 -0.10034 -0.37165 C -2.22222E-6 -0.31083 0.04497 -0.15726 0.00087 -0.0266 Z " pathEditMode="relative" rAng="6863186" ptsTypes="fffff">
                                      <p:cBhvr>
                                        <p:cTn id="67" dur="50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090" y="-10916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118 -0.02821 C -0.11475 -0.02821 -0.19895 -0.1383 -0.19895 -0.27451 C -0.19895 -0.4105 -0.11475 -0.52081 -0.0118 -0.52081 C 0.09132 -0.52081 0.175 -0.4105 0.175 -0.27451 C 0.175 -0.1383 0.09132 -0.02821 -0.0118 -0.02821 Z " pathEditMode="relative" rAng="10800000" ptsTypes="fffff">
                                      <p:cBhvr>
                                        <p:cTn id="69" dur="5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2463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833 -0.01203 C -0.04722 -0.12789 -0.01996 -0.28261 0.0691 -0.35662 C 0.15903 -0.43016 0.27448 -0.39385 0.3283 -0.27799 C 0.38281 -0.16143 0.35504 -0.0081 0.26667 0.06498 C 0.17778 0.13899 0.06076 0.10476 0.00833 -0.01203 Z " pathEditMode="relative" rAng="14287750" ptsTypes="fffff">
                                      <p:cBhvr>
                                        <p:cTn id="71" dur="5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03" y="-13321"/>
                                    </p:animMotion>
                                  </p:childTnLst>
                                </p:cTn>
                              </p:par>
                              <p:par>
                                <p:cTn id="72" presetID="1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944 0.00047 C 0.05 -0.13089 0.15763 -0.20837 0.2552 -0.1642 C 0.35468 -0.12211 0.4092 0.01804 0.37829 0.1501 C 0.34687 0.28354 0.24253 0.35801 0.14427 0.31152 C 0.04305 0.27313 -0.0125 0.13414 0.01944 0.00047 Z " pathEditMode="relative" rAng="-4358696" ptsTypes="fffff">
                                      <p:cBhvr>
                                        <p:cTn id="73" dur="5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34" y="73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0" grpId="0"/>
      <p:bldP spid="3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>
            <a:off x="1368184" y="2086968"/>
            <a:ext cx="3626896" cy="3522260"/>
            <a:chOff x="1368184" y="2086968"/>
            <a:chExt cx="3626896" cy="3522260"/>
          </a:xfrm>
        </p:grpSpPr>
        <p:sp>
          <p:nvSpPr>
            <p:cNvPr id="5" name="Oval 4"/>
            <p:cNvSpPr/>
            <p:nvPr/>
          </p:nvSpPr>
          <p:spPr>
            <a:xfrm>
              <a:off x="1368184" y="2086968"/>
              <a:ext cx="3626896" cy="3522260"/>
            </a:xfrm>
            <a:prstGeom prst="ellipse">
              <a:avLst/>
            </a:prstGeom>
            <a:noFill/>
            <a:ln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642314" y="3398872"/>
              <a:ext cx="128160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dirty="0" smtClean="0">
                  <a:solidFill>
                    <a:schemeClr val="tx1">
                      <a:lumMod val="40000"/>
                      <a:lumOff val="60000"/>
                    </a:schemeClr>
                  </a:solidFill>
                </a:rPr>
                <a:t>GLOBAL TRADE SUITE</a:t>
              </a:r>
              <a:endParaRPr lang="en-US" dirty="0">
                <a:solidFill>
                  <a:schemeClr val="tx1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3" name="Hexagon 2"/>
          <p:cNvSpPr/>
          <p:nvPr/>
        </p:nvSpPr>
        <p:spPr>
          <a:xfrm>
            <a:off x="257562" y="5895833"/>
            <a:ext cx="8654426" cy="235637"/>
          </a:xfrm>
          <a:prstGeom prst="hexag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 smtClean="0"/>
              <a:t>GLOBAL TRADE | SOLUTIONS SUITE</a:t>
            </a:r>
            <a:endParaRPr lang="es-AR" dirty="0"/>
          </a:p>
        </p:txBody>
      </p:sp>
      <p:pic>
        <p:nvPicPr>
          <p:cNvPr id="20" name="Picture 13" descr="Description: Routes 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541" y="990625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3" cstate="print"/>
          <a:srcRect l="7467" t="35063" r="10032" b="38359"/>
          <a:stretch>
            <a:fillRect/>
          </a:stretch>
        </p:blipFill>
        <p:spPr bwMode="auto">
          <a:xfrm>
            <a:off x="257562" y="1052433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722" y="1950493"/>
            <a:ext cx="911469" cy="778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376" y="2953083"/>
            <a:ext cx="935828" cy="967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90" y="2914249"/>
            <a:ext cx="1284400" cy="96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69" y="4405920"/>
            <a:ext cx="1385489" cy="975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603" y="4362223"/>
            <a:ext cx="1022763" cy="993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992" y="5307785"/>
            <a:ext cx="1421166" cy="987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1912081" y="1970253"/>
            <a:ext cx="1011540" cy="795287"/>
            <a:chOff x="1912081" y="1970253"/>
            <a:chExt cx="1011540" cy="795287"/>
          </a:xfrm>
        </p:grpSpPr>
        <p:pic>
          <p:nvPicPr>
            <p:cNvPr id="1034" name="Picture 10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6482" y="1970253"/>
              <a:ext cx="628664" cy="463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5" name="Picture 11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4375" y="2480986"/>
              <a:ext cx="999246" cy="284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tangle 9"/>
            <p:cNvSpPr/>
            <p:nvPr/>
          </p:nvSpPr>
          <p:spPr>
            <a:xfrm>
              <a:off x="1912081" y="2237096"/>
              <a:ext cx="253805" cy="2527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158" y="1894707"/>
            <a:ext cx="630102" cy="643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3429000"/>
            <a:ext cx="656356" cy="649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472" y="4976336"/>
            <a:ext cx="610410" cy="616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934200" y="1976896"/>
            <a:ext cx="178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INCREMENTA EFICIENCIA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47518" y="3472763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COSTOS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47516" y="4953000"/>
            <a:ext cx="18916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RIESGOS Y COMPLIANCE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073257" y="1733266"/>
            <a:ext cx="0" cy="4068062"/>
          </a:xfrm>
          <a:prstGeom prst="line">
            <a:avLst/>
          </a:prstGeom>
          <a:ln w="317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 rot="16200000">
            <a:off x="4768869" y="2285587"/>
            <a:ext cx="22277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NEFICI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078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4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  <p:bldP spid="2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54"/>
          <p:cNvSpPr/>
          <p:nvPr/>
        </p:nvSpPr>
        <p:spPr>
          <a:xfrm>
            <a:off x="539551" y="4642923"/>
            <a:ext cx="8175823" cy="1300677"/>
          </a:xfrm>
          <a:prstGeom prst="roundRect">
            <a:avLst/>
          </a:prstGeom>
          <a:noFill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rgbClr val="FFFFFF"/>
              </a:solidFill>
            </a:endParaRPr>
          </a:p>
        </p:txBody>
      </p:sp>
      <p:sp>
        <p:nvSpPr>
          <p:cNvPr id="17" name="Rounded Rectangle 59"/>
          <p:cNvSpPr/>
          <p:nvPr/>
        </p:nvSpPr>
        <p:spPr>
          <a:xfrm>
            <a:off x="539551" y="3094115"/>
            <a:ext cx="8175823" cy="1300677"/>
          </a:xfrm>
          <a:prstGeom prst="roundRect">
            <a:avLst/>
          </a:prstGeom>
          <a:noFill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rgbClr val="FFFFFF"/>
              </a:solidFill>
            </a:endParaRPr>
          </a:p>
        </p:txBody>
      </p:sp>
      <p:sp>
        <p:nvSpPr>
          <p:cNvPr id="7" name="Rounded Rectangle 49"/>
          <p:cNvSpPr/>
          <p:nvPr/>
        </p:nvSpPr>
        <p:spPr>
          <a:xfrm>
            <a:off x="539551" y="1545307"/>
            <a:ext cx="8175823" cy="1300677"/>
          </a:xfrm>
          <a:prstGeom prst="roundRect">
            <a:avLst/>
          </a:prstGeom>
          <a:noFill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rgbClr val="FFFFFF"/>
              </a:solidFill>
            </a:endParaRPr>
          </a:p>
        </p:txBody>
      </p:sp>
      <p:graphicFrame>
        <p:nvGraphicFramePr>
          <p:cNvPr id="5" name="Diagram 47"/>
          <p:cNvGraphicFramePr/>
          <p:nvPr>
            <p:extLst>
              <p:ext uri="{D42A27DB-BD31-4B8C-83A1-F6EECF244321}">
                <p14:modId xmlns:p14="http://schemas.microsoft.com/office/powerpoint/2010/main" val="3805621092"/>
              </p:ext>
            </p:extLst>
          </p:nvPr>
        </p:nvGraphicFramePr>
        <p:xfrm>
          <a:off x="685799" y="1689903"/>
          <a:ext cx="541020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313897" y="115094"/>
            <a:ext cx="7369175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dirty="0" smtClean="0"/>
          </a:p>
          <a:p>
            <a:r>
              <a:rPr lang="en-US" sz="2400" dirty="0" err="1"/>
              <a:t>Beneficios</a:t>
            </a:r>
            <a:r>
              <a:rPr lang="en-US" sz="2400" dirty="0"/>
              <a:t> y </a:t>
            </a:r>
            <a:r>
              <a:rPr lang="en-US" sz="2400" dirty="0" err="1"/>
              <a:t>Retorno</a:t>
            </a:r>
            <a:r>
              <a:rPr lang="en-US" sz="2400" dirty="0"/>
              <a:t> de </a:t>
            </a:r>
            <a:r>
              <a:rPr lang="en-US" sz="2400" dirty="0" err="1"/>
              <a:t>Inversión</a:t>
            </a:r>
            <a:endParaRPr lang="en-US" sz="2400" dirty="0"/>
          </a:p>
        </p:txBody>
      </p:sp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158" y="1894707"/>
            <a:ext cx="630102" cy="643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3429000"/>
            <a:ext cx="656356" cy="649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472" y="4976336"/>
            <a:ext cx="610410" cy="616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6934200" y="1976896"/>
            <a:ext cx="178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INCREMENTA EFICIENCIA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47518" y="3472763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COSTOS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47516" y="4953000"/>
            <a:ext cx="18916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solidFill>
                  <a:schemeClr val="bg2">
                    <a:lumMod val="75000"/>
                  </a:schemeClr>
                </a:solidFill>
              </a:rPr>
              <a:t>REDUCE RIESGOS Y COMPLIANCE</a:t>
            </a:r>
            <a:endParaRPr lang="en-US" sz="1400" b="1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3" name="Picture 13" descr="Description: Routes 2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1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41278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genda</a:t>
            </a: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98526" y="1628775"/>
            <a:ext cx="7921918" cy="2616101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pt-BR" sz="2000" dirty="0">
                <a:solidFill>
                  <a:schemeClr val="bg1"/>
                </a:solidFill>
              </a:rPr>
              <a:t>ERPs y la GESTION DE </a:t>
            </a:r>
            <a:r>
              <a:rPr lang="en-US" altLang="pt-BR" sz="2000" dirty="0">
                <a:solidFill>
                  <a:schemeClr val="bg1"/>
                </a:solidFill>
              </a:rPr>
              <a:t>OPERACIONES </a:t>
            </a:r>
            <a:r>
              <a:rPr lang="en-US" altLang="pt-BR" sz="2000" dirty="0">
                <a:solidFill>
                  <a:schemeClr val="bg1"/>
                </a:solidFill>
              </a:rPr>
              <a:t>DE COMEX</a:t>
            </a:r>
          </a:p>
          <a:p>
            <a:r>
              <a:rPr lang="en-US" altLang="pt-BR" sz="2000" dirty="0">
                <a:solidFill>
                  <a:schemeClr val="bg1"/>
                </a:solidFill>
              </a:rPr>
              <a:t>ACERCA DE </a:t>
            </a:r>
            <a:r>
              <a:rPr lang="pt-BR" altLang="pt-BR" sz="2000" dirty="0" smtClean="0">
                <a:solidFill>
                  <a:schemeClr val="bg1"/>
                </a:solidFill>
              </a:rPr>
              <a:t>GLOBAL </a:t>
            </a:r>
            <a:r>
              <a:rPr lang="pt-BR" altLang="pt-BR" sz="2000" dirty="0">
                <a:solidFill>
                  <a:schemeClr val="bg1"/>
                </a:solidFill>
              </a:rPr>
              <a:t>TRADE  </a:t>
            </a:r>
            <a:r>
              <a:rPr lang="pt-BR" altLang="pt-BR" sz="2000" dirty="0" smtClean="0">
                <a:solidFill>
                  <a:schemeClr val="bg1"/>
                </a:solidFill>
              </a:rPr>
              <a:t>MANAGEMENT</a:t>
            </a: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ACERCA DE THOMSON REUTERS ONESOURCE GTM</a:t>
            </a:r>
            <a:endParaRPr lang="en-US" altLang="pt-BR" sz="2000" dirty="0">
              <a:solidFill>
                <a:schemeClr val="bg1"/>
              </a:solidFill>
            </a:endParaRP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PREGUNTAS</a:t>
            </a:r>
            <a:endParaRPr lang="pt-BR" altLang="pt-BR" sz="2000" dirty="0" smtClean="0">
              <a:solidFill>
                <a:schemeClr val="bg1"/>
              </a:solidFill>
            </a:endParaRPr>
          </a:p>
          <a:p>
            <a:endParaRPr lang="en-US" altLang="pt-BR" sz="2000" dirty="0" smtClean="0"/>
          </a:p>
          <a:p>
            <a:endParaRPr lang="en-US" altLang="pt-BR" sz="2000" dirty="0"/>
          </a:p>
        </p:txBody>
      </p:sp>
    </p:spTree>
    <p:extLst>
      <p:ext uri="{BB962C8B-B14F-4D97-AF65-F5344CB8AC3E}">
        <p14:creationId xmlns:p14="http://schemas.microsoft.com/office/powerpoint/2010/main" val="19991890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1438275"/>
            <a:ext cx="4724400" cy="361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2427850" y="2552700"/>
            <a:ext cx="4362185" cy="22907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lataforma Global</a:t>
            </a:r>
            <a:endParaRPr lang="pt-BR" dirty="0">
              <a:solidFill>
                <a:srgbClr val="FF0000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325" y="5236635"/>
            <a:ext cx="1645841" cy="501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39" y="5274538"/>
            <a:ext cx="1723777" cy="434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309739" y="5237960"/>
            <a:ext cx="1628243" cy="0"/>
          </a:xfrm>
          <a:prstGeom prst="line">
            <a:avLst/>
          </a:prstGeom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2386507" y="5236635"/>
            <a:ext cx="4328192" cy="3598"/>
          </a:xfrm>
          <a:prstGeom prst="line">
            <a:avLst/>
          </a:prstGeom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359211" y="5010766"/>
            <a:ext cx="29479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Functional</a:t>
            </a:r>
            <a:r>
              <a:rPr lang="es-CL" sz="9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 </a:t>
            </a:r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Core</a:t>
            </a:r>
            <a:endParaRPr lang="en-US" sz="9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1499" y="5010766"/>
            <a:ext cx="1696483" cy="229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Expertise</a:t>
            </a:r>
            <a:r>
              <a:rPr lang="es-CL" sz="9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 </a:t>
            </a:r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Core</a:t>
            </a:r>
            <a:endParaRPr lang="en-US" sz="9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Description: Routes 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7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016988"/>
            <a:ext cx="2152650" cy="312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8" y="1957388"/>
            <a:ext cx="1952625" cy="286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848" y="2714495"/>
            <a:ext cx="836642" cy="714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1" name="Group 20"/>
          <p:cNvGrpSpPr/>
          <p:nvPr/>
        </p:nvGrpSpPr>
        <p:grpSpPr>
          <a:xfrm>
            <a:off x="3172141" y="2697617"/>
            <a:ext cx="915581" cy="729998"/>
            <a:chOff x="1912081" y="1970253"/>
            <a:chExt cx="1011540" cy="795287"/>
          </a:xfrm>
        </p:grpSpPr>
        <p:pic>
          <p:nvPicPr>
            <p:cNvPr id="22" name="Picture 10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6482" y="1970253"/>
              <a:ext cx="628664" cy="463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11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4375" y="2480986"/>
              <a:ext cx="999246" cy="284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Rectangle 23"/>
            <p:cNvSpPr/>
            <p:nvPr/>
          </p:nvSpPr>
          <p:spPr>
            <a:xfrm>
              <a:off x="1912081" y="2237096"/>
              <a:ext cx="253805" cy="2527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158" y="3845384"/>
            <a:ext cx="607814" cy="628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805" y="3833508"/>
            <a:ext cx="834209" cy="629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8800" y="3822910"/>
            <a:ext cx="899866" cy="633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7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683" y="3794334"/>
            <a:ext cx="664278" cy="644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8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037" y="3819307"/>
            <a:ext cx="923039" cy="64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0" name="Straight Connector 29"/>
          <p:cNvCxnSpPr/>
          <p:nvPr/>
        </p:nvCxnSpPr>
        <p:spPr>
          <a:xfrm>
            <a:off x="7302059" y="5236635"/>
            <a:ext cx="1728000" cy="2238"/>
          </a:xfrm>
          <a:prstGeom prst="line">
            <a:avLst/>
          </a:prstGeom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302059" y="5010766"/>
            <a:ext cx="173283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Third-Party</a:t>
            </a:r>
            <a:r>
              <a:rPr lang="es-CL" sz="9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 </a:t>
            </a:r>
            <a:r>
              <a:rPr lang="es-CL" sz="9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Logistics</a:t>
            </a:r>
            <a:endParaRPr lang="en-US" sz="9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277035" y="5258702"/>
            <a:ext cx="17328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b="1" dirty="0" smtClean="0">
                <a:solidFill>
                  <a:srgbClr val="09B3FF"/>
                </a:solidFill>
              </a:rPr>
              <a:t>3PL</a:t>
            </a:r>
            <a:endParaRPr lang="en-US" sz="2400" b="1" dirty="0">
              <a:solidFill>
                <a:srgbClr val="09B3FF"/>
              </a:solidFill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697"/>
          <a:stretch/>
        </p:blipFill>
        <p:spPr bwMode="auto">
          <a:xfrm>
            <a:off x="2212072" y="1426899"/>
            <a:ext cx="4724400" cy="590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4239037" y="1957388"/>
            <a:ext cx="629846" cy="2989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0860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6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8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9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2000" fill="hold"/>
                                        <p:tgtEl>
                                          <p:spTgt spid="3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6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6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4" grpId="0"/>
      <p:bldP spid="31" grpId="0"/>
      <p:bldP spid="33" grpId="0"/>
      <p:bldP spid="4" grpId="0" animBg="1"/>
      <p:bldP spid="4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/>
        </p:nvSpPr>
        <p:spPr>
          <a:xfrm>
            <a:off x="150125" y="5968195"/>
            <a:ext cx="8734567" cy="715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385303" y="69677"/>
            <a:ext cx="7369175" cy="836612"/>
          </a:xfrm>
        </p:spPr>
        <p:txBody>
          <a:bodyPr/>
          <a:lstStyle/>
          <a:p>
            <a:r>
              <a:rPr lang="es-MX" dirty="0" smtClean="0"/>
              <a:t>FLUJO MODELO IMPORTACION</a:t>
            </a:r>
            <a:endParaRPr lang="es-AR" dirty="0"/>
          </a:p>
        </p:txBody>
      </p:sp>
      <p:grpSp>
        <p:nvGrpSpPr>
          <p:cNvPr id="23" name="22 Grupo"/>
          <p:cNvGrpSpPr/>
          <p:nvPr/>
        </p:nvGrpSpPr>
        <p:grpSpPr>
          <a:xfrm>
            <a:off x="0" y="1498307"/>
            <a:ext cx="9144000" cy="4620326"/>
            <a:chOff x="0" y="944768"/>
            <a:chExt cx="9144000" cy="5076520"/>
          </a:xfrm>
        </p:grpSpPr>
        <p:cxnSp>
          <p:nvCxnSpPr>
            <p:cNvPr id="24" name="Conector reto 160"/>
            <p:cNvCxnSpPr/>
            <p:nvPr/>
          </p:nvCxnSpPr>
          <p:spPr>
            <a:xfrm>
              <a:off x="0" y="2636912"/>
              <a:ext cx="9144000" cy="0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angulado 125"/>
            <p:cNvCxnSpPr>
              <a:stCxn id="30" idx="0"/>
            </p:cNvCxnSpPr>
            <p:nvPr/>
          </p:nvCxnSpPr>
          <p:spPr>
            <a:xfrm flipV="1">
              <a:off x="4563295" y="1880784"/>
              <a:ext cx="0" cy="216112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Imagem 3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632" y="2710323"/>
              <a:ext cx="1224000" cy="47062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7" name="Retângulo 3"/>
            <p:cNvSpPr/>
            <p:nvPr/>
          </p:nvSpPr>
          <p:spPr>
            <a:xfrm>
              <a:off x="1200820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Orden de Importación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Retângulo 5"/>
            <p:cNvSpPr/>
            <p:nvPr/>
          </p:nvSpPr>
          <p:spPr>
            <a:xfrm>
              <a:off x="3341644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viso de Tránsito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Retângulo 6"/>
            <p:cNvSpPr/>
            <p:nvPr/>
          </p:nvSpPr>
          <p:spPr>
            <a:xfrm>
              <a:off x="6564812" y="944768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Recepción Física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Retângulo 7"/>
            <p:cNvSpPr/>
            <p:nvPr/>
          </p:nvSpPr>
          <p:spPr>
            <a:xfrm>
              <a:off x="4088095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Pago al Proveedor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Retângulo 9"/>
            <p:cNvSpPr/>
            <p:nvPr/>
          </p:nvSpPr>
          <p:spPr>
            <a:xfrm>
              <a:off x="1200820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Orden de Importación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2" name="Retângulo 11"/>
            <p:cNvSpPr/>
            <p:nvPr/>
          </p:nvSpPr>
          <p:spPr>
            <a:xfrm>
              <a:off x="2456683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Factura Comercial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Retângulo 12"/>
            <p:cNvSpPr/>
            <p:nvPr/>
          </p:nvSpPr>
          <p:spPr>
            <a:xfrm>
              <a:off x="3694706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Conocimiento Transport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Retângulo 13"/>
            <p:cNvSpPr/>
            <p:nvPr/>
          </p:nvSpPr>
          <p:spPr>
            <a:xfrm>
              <a:off x="2456683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Factura </a:t>
              </a:r>
            </a:p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Pro-Forma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5" name="Retângulo 14"/>
            <p:cNvSpPr/>
            <p:nvPr/>
          </p:nvSpPr>
          <p:spPr>
            <a:xfrm>
              <a:off x="2456683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nticipo al Proveedor</a:t>
              </a:r>
              <a:endPara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6" name="Retângulo 15"/>
            <p:cNvSpPr/>
            <p:nvPr/>
          </p:nvSpPr>
          <p:spPr>
            <a:xfrm>
              <a:off x="5510369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Adelant</a:t>
              </a:r>
              <a:r>
                <a:rPr lang="es-AR" sz="1000" b="1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o</a:t>
              </a:r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 Gasto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37" name="Conector angulado 17"/>
            <p:cNvCxnSpPr>
              <a:stCxn id="33" idx="3"/>
              <a:endCxn id="36" idx="2"/>
            </p:cNvCxnSpPr>
            <p:nvPr/>
          </p:nvCxnSpPr>
          <p:spPr>
            <a:xfrm flipV="1">
              <a:off x="4645106" y="3320944"/>
              <a:ext cx="1340463" cy="474791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angulado 19"/>
            <p:cNvCxnSpPr>
              <a:stCxn id="33" idx="0"/>
              <a:endCxn id="28" idx="2"/>
            </p:cNvCxnSpPr>
            <p:nvPr/>
          </p:nvCxnSpPr>
          <p:spPr>
            <a:xfrm rot="16200000" flipV="1">
              <a:off x="2864892" y="2292721"/>
              <a:ext cx="2256967" cy="353062"/>
            </a:xfrm>
            <a:prstGeom prst="bentConnector3">
              <a:avLst>
                <a:gd name="adj1" fmla="val 23998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de seta reta 30"/>
            <p:cNvCxnSpPr>
              <a:stCxn id="32" idx="3"/>
              <a:endCxn id="33" idx="1"/>
            </p:cNvCxnSpPr>
            <p:nvPr/>
          </p:nvCxnSpPr>
          <p:spPr>
            <a:xfrm>
              <a:off x="3407083" y="3795735"/>
              <a:ext cx="287623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de seta reta 32"/>
            <p:cNvCxnSpPr>
              <a:stCxn id="31" idx="3"/>
              <a:endCxn id="32" idx="1"/>
            </p:cNvCxnSpPr>
            <p:nvPr/>
          </p:nvCxnSpPr>
          <p:spPr>
            <a:xfrm>
              <a:off x="2151220" y="3795735"/>
              <a:ext cx="305463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de seta reta 34"/>
            <p:cNvCxnSpPr>
              <a:stCxn id="27" idx="2"/>
              <a:endCxn id="31" idx="0"/>
            </p:cNvCxnSpPr>
            <p:nvPr/>
          </p:nvCxnSpPr>
          <p:spPr>
            <a:xfrm>
              <a:off x="1676020" y="1340768"/>
              <a:ext cx="0" cy="225696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angulado 36"/>
            <p:cNvCxnSpPr>
              <a:stCxn id="31" idx="3"/>
              <a:endCxn id="34" idx="1"/>
            </p:cNvCxnSpPr>
            <p:nvPr/>
          </p:nvCxnSpPr>
          <p:spPr>
            <a:xfrm flipV="1">
              <a:off x="2151220" y="3122944"/>
              <a:ext cx="305463" cy="67279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Fluxograma: Documento 37"/>
            <p:cNvSpPr/>
            <p:nvPr/>
          </p:nvSpPr>
          <p:spPr>
            <a:xfrm>
              <a:off x="1913559" y="4149080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Instrucción de Embarqu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44" name="Conector de seta reta 39"/>
            <p:cNvCxnSpPr>
              <a:stCxn id="31" idx="2"/>
              <a:endCxn id="43" idx="1"/>
            </p:cNvCxnSpPr>
            <p:nvPr/>
          </p:nvCxnSpPr>
          <p:spPr>
            <a:xfrm rot="16200000" flipH="1">
              <a:off x="1618117" y="4051637"/>
              <a:ext cx="353345" cy="237539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de seta reta 41"/>
            <p:cNvCxnSpPr>
              <a:stCxn id="34" idx="0"/>
              <a:endCxn id="35" idx="2"/>
            </p:cNvCxnSpPr>
            <p:nvPr/>
          </p:nvCxnSpPr>
          <p:spPr>
            <a:xfrm flipV="1">
              <a:off x="2931883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de seta reta 43"/>
            <p:cNvCxnSpPr>
              <a:stCxn id="34" idx="2"/>
              <a:endCxn id="32" idx="0"/>
            </p:cNvCxnSpPr>
            <p:nvPr/>
          </p:nvCxnSpPr>
          <p:spPr>
            <a:xfrm>
              <a:off x="2931883" y="3320944"/>
              <a:ext cx="0" cy="276791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tângulo 45"/>
            <p:cNvSpPr/>
            <p:nvPr/>
          </p:nvSpPr>
          <p:spPr>
            <a:xfrm>
              <a:off x="6564118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Recepción Proceso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48" name="Conector de seta reta 47"/>
            <p:cNvCxnSpPr>
              <a:stCxn id="29" idx="2"/>
              <a:endCxn id="47" idx="0"/>
            </p:cNvCxnSpPr>
            <p:nvPr/>
          </p:nvCxnSpPr>
          <p:spPr>
            <a:xfrm flipH="1">
              <a:off x="7039318" y="1340768"/>
              <a:ext cx="694" cy="158417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angulado 49"/>
            <p:cNvCxnSpPr>
              <a:stCxn id="33" idx="0"/>
              <a:endCxn id="30" idx="2"/>
            </p:cNvCxnSpPr>
            <p:nvPr/>
          </p:nvCxnSpPr>
          <p:spPr>
            <a:xfrm rot="5400000" flipH="1" flipV="1">
              <a:off x="3814181" y="2848622"/>
              <a:ext cx="1104839" cy="393389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tângulo 52"/>
            <p:cNvSpPr/>
            <p:nvPr/>
          </p:nvSpPr>
          <p:spPr>
            <a:xfrm>
              <a:off x="7654048" y="3597735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Gastos Reale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" name="Retângulo 59"/>
            <p:cNvSpPr/>
            <p:nvPr/>
          </p:nvSpPr>
          <p:spPr>
            <a:xfrm>
              <a:off x="7654048" y="2924944"/>
              <a:ext cx="950400" cy="396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Solicitud de Pago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52" name="Conector de seta reta 61"/>
            <p:cNvCxnSpPr>
              <a:stCxn id="50" idx="0"/>
              <a:endCxn id="51" idx="2"/>
            </p:cNvCxnSpPr>
            <p:nvPr/>
          </p:nvCxnSpPr>
          <p:spPr>
            <a:xfrm flipV="1">
              <a:off x="8129248" y="3320944"/>
              <a:ext cx="0" cy="276791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tângulo 62"/>
            <p:cNvSpPr/>
            <p:nvPr/>
          </p:nvSpPr>
          <p:spPr>
            <a:xfrm>
              <a:off x="7654048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Factura de Gastos</a:t>
              </a:r>
              <a:endPara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54" name="Conector angulado 65"/>
            <p:cNvCxnSpPr>
              <a:stCxn id="51" idx="0"/>
              <a:endCxn id="53" idx="2"/>
            </p:cNvCxnSpPr>
            <p:nvPr/>
          </p:nvCxnSpPr>
          <p:spPr>
            <a:xfrm flipV="1">
              <a:off x="8129248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tângulo 76"/>
            <p:cNvSpPr/>
            <p:nvPr/>
          </p:nvSpPr>
          <p:spPr>
            <a:xfrm>
              <a:off x="5510369" y="2096896"/>
              <a:ext cx="950400" cy="396000"/>
            </a:xfrm>
            <a:prstGeom prst="rect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Solicitud </a:t>
              </a:r>
              <a:r>
                <a:rPr lang="es-AR" sz="900" b="1" dirty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Adelanto Gasto</a:t>
              </a:r>
            </a:p>
          </p:txBody>
        </p:sp>
        <p:cxnSp>
          <p:nvCxnSpPr>
            <p:cNvPr id="56" name="Conector de seta reta 78"/>
            <p:cNvCxnSpPr>
              <a:stCxn id="55" idx="3"/>
              <a:endCxn id="53" idx="1"/>
            </p:cNvCxnSpPr>
            <p:nvPr/>
          </p:nvCxnSpPr>
          <p:spPr>
            <a:xfrm>
              <a:off x="6460769" y="2294896"/>
              <a:ext cx="1193279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ector de seta reta 84"/>
            <p:cNvCxnSpPr>
              <a:stCxn id="36" idx="0"/>
              <a:endCxn id="55" idx="2"/>
            </p:cNvCxnSpPr>
            <p:nvPr/>
          </p:nvCxnSpPr>
          <p:spPr>
            <a:xfrm flipV="1">
              <a:off x="5985569" y="2492896"/>
              <a:ext cx="0" cy="432048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ector de seta reta 128"/>
            <p:cNvCxnSpPr>
              <a:stCxn id="33" idx="3"/>
              <a:endCxn id="50" idx="1"/>
            </p:cNvCxnSpPr>
            <p:nvPr/>
          </p:nvCxnSpPr>
          <p:spPr>
            <a:xfrm>
              <a:off x="4645106" y="3795735"/>
              <a:ext cx="3008942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tângulo 129"/>
            <p:cNvSpPr/>
            <p:nvPr/>
          </p:nvSpPr>
          <p:spPr>
            <a:xfrm>
              <a:off x="6576193" y="4149080"/>
              <a:ext cx="950400" cy="360000"/>
            </a:xfrm>
            <a:prstGeom prst="rect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Declaración Importación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60" name="Conector angulado 131"/>
            <p:cNvCxnSpPr>
              <a:stCxn id="78" idx="0"/>
              <a:endCxn id="69" idx="2"/>
            </p:cNvCxnSpPr>
            <p:nvPr/>
          </p:nvCxnSpPr>
          <p:spPr>
            <a:xfrm>
              <a:off x="5240223" y="5138643"/>
              <a:ext cx="1811170" cy="852790"/>
            </a:xfrm>
            <a:prstGeom prst="bentConnector4">
              <a:avLst>
                <a:gd name="adj1" fmla="val 5233"/>
                <a:gd name="adj2" fmla="val 126806"/>
              </a:avLst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ector angulado 135"/>
            <p:cNvCxnSpPr>
              <a:stCxn id="59" idx="0"/>
              <a:endCxn id="47" idx="2"/>
            </p:cNvCxnSpPr>
            <p:nvPr/>
          </p:nvCxnSpPr>
          <p:spPr>
            <a:xfrm flipH="1" flipV="1">
              <a:off x="7039318" y="3320944"/>
              <a:ext cx="12075" cy="82813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angulado 147"/>
            <p:cNvCxnSpPr>
              <a:stCxn id="59" idx="2"/>
              <a:endCxn id="69" idx="0"/>
            </p:cNvCxnSpPr>
            <p:nvPr/>
          </p:nvCxnSpPr>
          <p:spPr>
            <a:xfrm>
              <a:off x="7051393" y="4509080"/>
              <a:ext cx="0" cy="1065276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stealt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80"/>
            <p:cNvCxnSpPr/>
            <p:nvPr/>
          </p:nvCxnSpPr>
          <p:spPr>
            <a:xfrm>
              <a:off x="0" y="5445224"/>
              <a:ext cx="9144000" cy="0"/>
            </a:xfrm>
            <a:prstGeom prst="line">
              <a:avLst/>
            </a:prstGeom>
            <a:ln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tângulo 81"/>
            <p:cNvSpPr/>
            <p:nvPr/>
          </p:nvSpPr>
          <p:spPr>
            <a:xfrm>
              <a:off x="6576193" y="5574356"/>
              <a:ext cx="950400" cy="417077"/>
            </a:xfrm>
            <a:prstGeom prst="rect">
              <a:avLst/>
            </a:prstGeom>
            <a:solidFill>
              <a:srgbClr val="FF6600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1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Declaración Importación</a:t>
              </a:r>
              <a:endParaRPr lang="es-AR" sz="11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0" name="Retângulo 88"/>
            <p:cNvSpPr/>
            <p:nvPr/>
          </p:nvSpPr>
          <p:spPr>
            <a:xfrm>
              <a:off x="5496073" y="5604211"/>
              <a:ext cx="950400" cy="417077"/>
            </a:xfrm>
            <a:prstGeom prst="rect">
              <a:avLst/>
            </a:prstGeom>
            <a:solidFill>
              <a:srgbClr val="FF6600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1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Gastos Previsto</a:t>
              </a:r>
              <a:endParaRPr lang="es-AR" sz="11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1" name="Retângulo 90"/>
            <p:cNvSpPr/>
            <p:nvPr/>
          </p:nvSpPr>
          <p:spPr>
            <a:xfrm>
              <a:off x="7654048" y="5548072"/>
              <a:ext cx="950400" cy="417077"/>
            </a:xfrm>
            <a:prstGeom prst="rect">
              <a:avLst/>
            </a:prstGeom>
            <a:solidFill>
              <a:srgbClr val="FF6600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1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Gastos Reales</a:t>
              </a:r>
              <a:endParaRPr lang="es-AR" sz="11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72" name="Conector de seta reta 91"/>
            <p:cNvCxnSpPr>
              <a:stCxn id="71" idx="0"/>
              <a:endCxn id="50" idx="2"/>
            </p:cNvCxnSpPr>
            <p:nvPr/>
          </p:nvCxnSpPr>
          <p:spPr>
            <a:xfrm flipV="1">
              <a:off x="8129248" y="3993735"/>
              <a:ext cx="0" cy="155433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de seta reta 92"/>
            <p:cNvCxnSpPr>
              <a:stCxn id="36" idx="2"/>
              <a:endCxn id="70" idx="0"/>
            </p:cNvCxnSpPr>
            <p:nvPr/>
          </p:nvCxnSpPr>
          <p:spPr>
            <a:xfrm flipH="1">
              <a:off x="5971273" y="3320944"/>
              <a:ext cx="14296" cy="2283267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angulado 99"/>
            <p:cNvCxnSpPr>
              <a:stCxn id="86" idx="3"/>
              <a:endCxn id="35" idx="0"/>
            </p:cNvCxnSpPr>
            <p:nvPr/>
          </p:nvCxnSpPr>
          <p:spPr>
            <a:xfrm rot="10800000" flipV="1">
              <a:off x="2931884" y="1682257"/>
              <a:ext cx="1064053" cy="414639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prstDash val="dash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de seta reta 102"/>
            <p:cNvCxnSpPr>
              <a:stCxn id="27" idx="3"/>
              <a:endCxn id="28" idx="1"/>
            </p:cNvCxnSpPr>
            <p:nvPr/>
          </p:nvCxnSpPr>
          <p:spPr>
            <a:xfrm>
              <a:off x="2151220" y="1142768"/>
              <a:ext cx="1190424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de seta reta 105"/>
            <p:cNvCxnSpPr>
              <a:stCxn id="28" idx="3"/>
              <a:endCxn id="29" idx="1"/>
            </p:cNvCxnSpPr>
            <p:nvPr/>
          </p:nvCxnSpPr>
          <p:spPr>
            <a:xfrm>
              <a:off x="4292044" y="1142768"/>
              <a:ext cx="2272768" cy="0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Hexágono 132"/>
            <p:cNvSpPr/>
            <p:nvPr/>
          </p:nvSpPr>
          <p:spPr>
            <a:xfrm>
              <a:off x="4301249" y="4941168"/>
              <a:ext cx="938974" cy="394949"/>
            </a:xfrm>
            <a:prstGeom prst="hexagon">
              <a:avLst/>
            </a:prstGeom>
            <a:solidFill>
              <a:srgbClr val="A5002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Solicitud Despacho</a:t>
              </a:r>
            </a:p>
          </p:txBody>
        </p:sp>
        <p:cxnSp>
          <p:nvCxnSpPr>
            <p:cNvPr id="79" name="Conector angulado 139"/>
            <p:cNvCxnSpPr>
              <a:stCxn id="33" idx="2"/>
              <a:endCxn id="78" idx="3"/>
            </p:cNvCxnSpPr>
            <p:nvPr/>
          </p:nvCxnSpPr>
          <p:spPr>
            <a:xfrm rot="16200000" flipH="1">
              <a:off x="3663123" y="4500517"/>
              <a:ext cx="1144908" cy="131343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Fluxograma: Documento 169"/>
            <p:cNvSpPr/>
            <p:nvPr/>
          </p:nvSpPr>
          <p:spPr>
            <a:xfrm>
              <a:off x="4759571" y="3959039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err="1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Check</a:t>
              </a:r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es-AR" sz="1000" b="1" dirty="0" err="1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Points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83" name="Fluxograma: Documento 170"/>
            <p:cNvSpPr/>
            <p:nvPr/>
          </p:nvSpPr>
          <p:spPr>
            <a:xfrm>
              <a:off x="4778279" y="4401152"/>
              <a:ext cx="950400" cy="396000"/>
            </a:xfrm>
            <a:prstGeom prst="flowChartDocument">
              <a:avLst/>
            </a:prstGeom>
            <a:solidFill>
              <a:srgbClr val="DE2A44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Lead Time</a:t>
              </a:r>
              <a:endPara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cxnSp>
          <p:nvCxnSpPr>
            <p:cNvPr id="84" name="Conector angulado 171"/>
            <p:cNvCxnSpPr>
              <a:stCxn id="33" idx="2"/>
              <a:endCxn id="83" idx="1"/>
            </p:cNvCxnSpPr>
            <p:nvPr/>
          </p:nvCxnSpPr>
          <p:spPr>
            <a:xfrm rot="16200000" flipH="1">
              <a:off x="4171384" y="3992256"/>
              <a:ext cx="605417" cy="608373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angulado 172"/>
            <p:cNvCxnSpPr>
              <a:stCxn id="33" idx="2"/>
              <a:endCxn id="82" idx="1"/>
            </p:cNvCxnSpPr>
            <p:nvPr/>
          </p:nvCxnSpPr>
          <p:spPr>
            <a:xfrm rot="16200000" flipH="1">
              <a:off x="4383086" y="3780554"/>
              <a:ext cx="163304" cy="589665"/>
            </a:xfrm>
            <a:prstGeom prst="bentConnector2">
              <a:avLst/>
            </a:prstGeom>
            <a:ln w="19050">
              <a:solidFill>
                <a:schemeClr val="bg1">
                  <a:lumMod val="65000"/>
                </a:schemeClr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Hexágono 178"/>
            <p:cNvSpPr/>
            <p:nvPr/>
          </p:nvSpPr>
          <p:spPr>
            <a:xfrm>
              <a:off x="3995936" y="1484783"/>
              <a:ext cx="1152128" cy="394948"/>
            </a:xfrm>
            <a:prstGeom prst="hexagon">
              <a:avLst/>
            </a:prstGeom>
            <a:solidFill>
              <a:schemeClr val="accent1"/>
            </a:solidFill>
            <a:effectLst>
              <a:outerShdw blurRad="40000" dist="20000" dir="5400000" rotWithShape="0">
                <a:schemeClr val="accent2">
                  <a:alpha val="38000"/>
                </a:schemeClr>
              </a:out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AR" sz="900" b="1" dirty="0" smtClean="0">
                  <a:solidFill>
                    <a:srgbClr val="FFFFFF"/>
                  </a:solidFill>
                  <a:latin typeface="Calibri" pitchFamily="34" charset="0"/>
                  <a:cs typeface="Calibri" pitchFamily="34" charset="0"/>
                </a:rPr>
                <a:t>Compensación  de Pago</a:t>
              </a:r>
              <a:endPara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5" name="4 CuadroTexto"/>
          <p:cNvSpPr txBox="1"/>
          <p:nvPr/>
        </p:nvSpPr>
        <p:spPr>
          <a:xfrm>
            <a:off x="-36512" y="5691196"/>
            <a:ext cx="19500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b="1" dirty="0" smtClean="0">
                <a:solidFill>
                  <a:schemeClr val="tx2"/>
                </a:solidFill>
              </a:rPr>
              <a:t>BROKER/ </a:t>
            </a:r>
          </a:p>
          <a:p>
            <a:r>
              <a:rPr lang="es-AR" sz="1200" b="1" dirty="0" smtClean="0">
                <a:solidFill>
                  <a:schemeClr val="tx2"/>
                </a:solidFill>
              </a:rPr>
              <a:t>DESPACHANTE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0" y="1479529"/>
            <a:ext cx="866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P</a:t>
            </a:r>
            <a:endParaRPr lang="es-A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4" name="Retângulo 88"/>
          <p:cNvSpPr/>
          <p:nvPr/>
        </p:nvSpPr>
        <p:spPr>
          <a:xfrm>
            <a:off x="1874304" y="5692571"/>
            <a:ext cx="1028700" cy="493277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Licencias de Importación</a:t>
            </a:r>
            <a:endParaRPr lang="es-AR" sz="11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65" name="Conector de seta reta 92"/>
          <p:cNvCxnSpPr>
            <a:stCxn id="43" idx="2"/>
            <a:endCxn id="64" idx="0"/>
          </p:cNvCxnSpPr>
          <p:nvPr/>
        </p:nvCxnSpPr>
        <p:spPr>
          <a:xfrm flipH="1">
            <a:off x="2388654" y="4751255"/>
            <a:ext cx="105" cy="941316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89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27547" y="5943601"/>
            <a:ext cx="8557146" cy="7398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9" name="Conector reto 160"/>
          <p:cNvCxnSpPr/>
          <p:nvPr/>
        </p:nvCxnSpPr>
        <p:spPr>
          <a:xfrm>
            <a:off x="-394" y="2852936"/>
            <a:ext cx="914400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0" name="Imagem 3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322" y="2936220"/>
            <a:ext cx="1079984" cy="4280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61" name="Retângulo 181">
            <a:hlinkClick r:id="" action="ppaction://noaction"/>
          </p:cNvPr>
          <p:cNvSpPr/>
          <p:nvPr/>
        </p:nvSpPr>
        <p:spPr>
          <a:xfrm>
            <a:off x="1294042" y="3288713"/>
            <a:ext cx="91576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rden de Exportación</a:t>
            </a:r>
          </a:p>
        </p:txBody>
      </p:sp>
      <p:sp>
        <p:nvSpPr>
          <p:cNvPr id="262" name="Retângulo 182">
            <a:hlinkClick r:id="" action="ppaction://noaction"/>
          </p:cNvPr>
          <p:cNvSpPr/>
          <p:nvPr/>
        </p:nvSpPr>
        <p:spPr>
          <a:xfrm>
            <a:off x="2446170" y="3288713"/>
            <a:ext cx="906630" cy="417078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oceso de Exportación</a:t>
            </a:r>
          </a:p>
        </p:txBody>
      </p:sp>
      <p:sp>
        <p:nvSpPr>
          <p:cNvPr id="263" name="Retângulo 183">
            <a:hlinkClick r:id="" action="ppaction://noaction"/>
          </p:cNvPr>
          <p:cNvSpPr/>
          <p:nvPr/>
        </p:nvSpPr>
        <p:spPr>
          <a:xfrm>
            <a:off x="3657600" y="3288714"/>
            <a:ext cx="899592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actura Comercial</a:t>
            </a:r>
          </a:p>
        </p:txBody>
      </p:sp>
      <p:sp>
        <p:nvSpPr>
          <p:cNvPr id="264" name="Retângulo 185">
            <a:hlinkClick r:id="" action="ppaction://noaction"/>
          </p:cNvPr>
          <p:cNvSpPr/>
          <p:nvPr/>
        </p:nvSpPr>
        <p:spPr>
          <a:xfrm>
            <a:off x="5334001" y="3443970"/>
            <a:ext cx="913554" cy="417078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ocimiento</a:t>
            </a:r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Embarque</a:t>
            </a:r>
          </a:p>
        </p:txBody>
      </p:sp>
      <p:sp>
        <p:nvSpPr>
          <p:cNvPr id="265" name="Retângulo 186">
            <a:hlinkClick r:id="" action="ppaction://noaction"/>
          </p:cNvPr>
          <p:cNvSpPr/>
          <p:nvPr/>
        </p:nvSpPr>
        <p:spPr>
          <a:xfrm>
            <a:off x="7239000" y="3789040"/>
            <a:ext cx="1008112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astos</a:t>
            </a:r>
          </a:p>
        </p:txBody>
      </p:sp>
      <p:sp>
        <p:nvSpPr>
          <p:cNvPr id="266" name="Retângulo 187">
            <a:hlinkClick r:id="" action="ppaction://noaction"/>
          </p:cNvPr>
          <p:cNvSpPr/>
          <p:nvPr/>
        </p:nvSpPr>
        <p:spPr>
          <a:xfrm>
            <a:off x="7772400" y="3011923"/>
            <a:ext cx="1008111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estación de Cuentas/Pago</a:t>
            </a:r>
          </a:p>
        </p:txBody>
      </p:sp>
      <p:cxnSp>
        <p:nvCxnSpPr>
          <p:cNvPr id="267" name="Conector de seta reta 189"/>
          <p:cNvCxnSpPr>
            <a:stCxn id="261" idx="3"/>
            <a:endCxn id="262" idx="1"/>
          </p:cNvCxnSpPr>
          <p:nvPr/>
        </p:nvCxnSpPr>
        <p:spPr>
          <a:xfrm>
            <a:off x="2209802" y="3497252"/>
            <a:ext cx="236368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Conector de seta reta 190"/>
          <p:cNvCxnSpPr>
            <a:stCxn id="262" idx="3"/>
            <a:endCxn id="263" idx="1"/>
          </p:cNvCxnSpPr>
          <p:nvPr/>
        </p:nvCxnSpPr>
        <p:spPr>
          <a:xfrm>
            <a:off x="3352800" y="3497252"/>
            <a:ext cx="304800" cy="1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Conector de seta reta 33"/>
          <p:cNvCxnSpPr>
            <a:stCxn id="263" idx="2"/>
            <a:endCxn id="314" idx="3"/>
          </p:cNvCxnSpPr>
          <p:nvPr/>
        </p:nvCxnSpPr>
        <p:spPr>
          <a:xfrm rot="16200000" flipH="1">
            <a:off x="3602241" y="4210946"/>
            <a:ext cx="1185649" cy="175338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Conector de seta reta 36"/>
          <p:cNvCxnSpPr>
            <a:stCxn id="263" idx="3"/>
            <a:endCxn id="264" idx="1"/>
          </p:cNvCxnSpPr>
          <p:nvPr/>
        </p:nvCxnSpPr>
        <p:spPr>
          <a:xfrm>
            <a:off x="4557192" y="3497253"/>
            <a:ext cx="776809" cy="1552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ector de seta reta 194"/>
          <p:cNvCxnSpPr>
            <a:stCxn id="265" idx="0"/>
            <a:endCxn id="266" idx="2"/>
          </p:cNvCxnSpPr>
          <p:nvPr/>
        </p:nvCxnSpPr>
        <p:spPr>
          <a:xfrm rot="5400000" flipH="1" flipV="1">
            <a:off x="7829736" y="3342320"/>
            <a:ext cx="360040" cy="53340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tângulo 196">
            <a:hlinkClick r:id="" action="ppaction://noaction"/>
          </p:cNvPr>
          <p:cNvSpPr/>
          <p:nvPr/>
        </p:nvSpPr>
        <p:spPr>
          <a:xfrm>
            <a:off x="2446170" y="3898825"/>
            <a:ext cx="90663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mbalaje</a:t>
            </a:r>
          </a:p>
        </p:txBody>
      </p:sp>
      <p:cxnSp>
        <p:nvCxnSpPr>
          <p:cNvPr id="274" name="Conector de seta reta 197"/>
          <p:cNvCxnSpPr>
            <a:stCxn id="262" idx="2"/>
            <a:endCxn id="273" idx="0"/>
          </p:cNvCxnSpPr>
          <p:nvPr/>
        </p:nvCxnSpPr>
        <p:spPr>
          <a:xfrm>
            <a:off x="2899485" y="3705791"/>
            <a:ext cx="0" cy="19303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Fluxograma: Documento 198">
            <a:hlinkClick r:id="" action="ppaction://noaction"/>
          </p:cNvPr>
          <p:cNvSpPr/>
          <p:nvPr/>
        </p:nvSpPr>
        <p:spPr>
          <a:xfrm>
            <a:off x="3124200" y="4959869"/>
            <a:ext cx="822176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ertificado de Origen</a:t>
            </a:r>
          </a:p>
        </p:txBody>
      </p:sp>
      <p:cxnSp>
        <p:nvCxnSpPr>
          <p:cNvPr id="276" name="Conector de seta reta 200"/>
          <p:cNvCxnSpPr>
            <a:stCxn id="261" idx="2"/>
            <a:endCxn id="298" idx="0"/>
          </p:cNvCxnSpPr>
          <p:nvPr/>
        </p:nvCxnSpPr>
        <p:spPr>
          <a:xfrm flipH="1">
            <a:off x="1751920" y="3705790"/>
            <a:ext cx="2" cy="22693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Retângulo 202"/>
          <p:cNvSpPr/>
          <p:nvPr/>
        </p:nvSpPr>
        <p:spPr>
          <a:xfrm>
            <a:off x="1294041" y="2136010"/>
            <a:ext cx="915759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Orden de Venta</a:t>
            </a:r>
          </a:p>
        </p:txBody>
      </p:sp>
      <p:sp>
        <p:nvSpPr>
          <p:cNvPr id="278" name="Retângulo 203"/>
          <p:cNvSpPr/>
          <p:nvPr/>
        </p:nvSpPr>
        <p:spPr>
          <a:xfrm>
            <a:off x="2446171" y="2136010"/>
            <a:ext cx="906630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Delivery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9" name="Retângulo 204"/>
          <p:cNvSpPr/>
          <p:nvPr/>
        </p:nvSpPr>
        <p:spPr>
          <a:xfrm>
            <a:off x="3657600" y="2136010"/>
            <a:ext cx="899591" cy="423376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Factura</a:t>
            </a:r>
          </a:p>
        </p:txBody>
      </p:sp>
      <p:cxnSp>
        <p:nvCxnSpPr>
          <p:cNvPr id="280" name="Conector de seta reta 208"/>
          <p:cNvCxnSpPr>
            <a:stCxn id="266" idx="0"/>
            <a:endCxn id="310" idx="2"/>
          </p:cNvCxnSpPr>
          <p:nvPr/>
        </p:nvCxnSpPr>
        <p:spPr>
          <a:xfrm flipV="1">
            <a:off x="8276456" y="2006900"/>
            <a:ext cx="0" cy="100502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Conector de seta reta 210"/>
          <p:cNvCxnSpPr>
            <a:stCxn id="278" idx="2"/>
            <a:endCxn id="262" idx="0"/>
          </p:cNvCxnSpPr>
          <p:nvPr/>
        </p:nvCxnSpPr>
        <p:spPr>
          <a:xfrm flipH="1">
            <a:off x="2899485" y="2564904"/>
            <a:ext cx="1" cy="72380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Conector de seta reta 211"/>
          <p:cNvCxnSpPr>
            <a:stCxn id="277" idx="3"/>
            <a:endCxn id="278" idx="1"/>
          </p:cNvCxnSpPr>
          <p:nvPr/>
        </p:nvCxnSpPr>
        <p:spPr>
          <a:xfrm>
            <a:off x="2209800" y="2350457"/>
            <a:ext cx="236371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Conector de seta reta 212"/>
          <p:cNvCxnSpPr>
            <a:stCxn id="278" idx="3"/>
            <a:endCxn id="279" idx="1"/>
          </p:cNvCxnSpPr>
          <p:nvPr/>
        </p:nvCxnSpPr>
        <p:spPr>
          <a:xfrm flipV="1">
            <a:off x="3352801" y="2347698"/>
            <a:ext cx="304799" cy="275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Conector de seta reta 216"/>
          <p:cNvCxnSpPr>
            <a:stCxn id="277" idx="2"/>
            <a:endCxn id="261" idx="0"/>
          </p:cNvCxnSpPr>
          <p:nvPr/>
        </p:nvCxnSpPr>
        <p:spPr>
          <a:xfrm>
            <a:off x="1751921" y="2564904"/>
            <a:ext cx="1" cy="72380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Conector de seta reta 99"/>
          <p:cNvCxnSpPr>
            <a:stCxn id="263" idx="2"/>
            <a:endCxn id="275" idx="3"/>
          </p:cNvCxnSpPr>
          <p:nvPr/>
        </p:nvCxnSpPr>
        <p:spPr>
          <a:xfrm rot="5400000">
            <a:off x="3295578" y="4356589"/>
            <a:ext cx="1462617" cy="161020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6" name="Fluxograma: Documento 222">
            <a:hlinkClick r:id="" action="ppaction://noaction"/>
          </p:cNvPr>
          <p:cNvSpPr/>
          <p:nvPr/>
        </p:nvSpPr>
        <p:spPr>
          <a:xfrm>
            <a:off x="3141404" y="4440842"/>
            <a:ext cx="822177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acking List</a:t>
            </a:r>
          </a:p>
        </p:txBody>
      </p:sp>
      <p:cxnSp>
        <p:nvCxnSpPr>
          <p:cNvPr id="287" name="Conector de seta reta 36"/>
          <p:cNvCxnSpPr>
            <a:stCxn id="263" idx="2"/>
            <a:endCxn id="286" idx="3"/>
          </p:cNvCxnSpPr>
          <p:nvPr/>
        </p:nvCxnSpPr>
        <p:spPr>
          <a:xfrm rot="5400000">
            <a:off x="3563694" y="4105679"/>
            <a:ext cx="943590" cy="143815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Retângulo 226"/>
          <p:cNvSpPr/>
          <p:nvPr/>
        </p:nvSpPr>
        <p:spPr>
          <a:xfrm>
            <a:off x="5334000" y="2136010"/>
            <a:ext cx="913555" cy="417077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Liquidación Aduanera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89" name="Conector de seta reta 227"/>
          <p:cNvCxnSpPr>
            <a:stCxn id="264" idx="0"/>
            <a:endCxn id="288" idx="2"/>
          </p:cNvCxnSpPr>
          <p:nvPr/>
        </p:nvCxnSpPr>
        <p:spPr>
          <a:xfrm flipV="1">
            <a:off x="5790778" y="2553087"/>
            <a:ext cx="0" cy="89088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Retângulo 228">
            <a:hlinkClick r:id="" action="ppaction://noaction"/>
          </p:cNvPr>
          <p:cNvSpPr/>
          <p:nvPr/>
        </p:nvSpPr>
        <p:spPr>
          <a:xfrm>
            <a:off x="5234744" y="4857919"/>
            <a:ext cx="861256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eclaración Exportación</a:t>
            </a:r>
          </a:p>
        </p:txBody>
      </p:sp>
      <p:cxnSp>
        <p:nvCxnSpPr>
          <p:cNvPr id="291" name="Conector de seta reta 50"/>
          <p:cNvCxnSpPr>
            <a:stCxn id="288" idx="1"/>
            <a:endCxn id="279" idx="3"/>
          </p:cNvCxnSpPr>
          <p:nvPr/>
        </p:nvCxnSpPr>
        <p:spPr>
          <a:xfrm flipH="1">
            <a:off x="4557191" y="2344549"/>
            <a:ext cx="776809" cy="3149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tângulo 230">
            <a:hlinkClick r:id="" action="ppaction://noaction"/>
          </p:cNvPr>
          <p:cNvSpPr/>
          <p:nvPr/>
        </p:nvSpPr>
        <p:spPr>
          <a:xfrm>
            <a:off x="6629400" y="3011923"/>
            <a:ext cx="95040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delanto Gastos</a:t>
            </a:r>
          </a:p>
        </p:txBody>
      </p:sp>
      <p:cxnSp>
        <p:nvCxnSpPr>
          <p:cNvPr id="293" name="Conector de seta reta 76"/>
          <p:cNvCxnSpPr>
            <a:stCxn id="265" idx="0"/>
            <a:endCxn id="292" idx="2"/>
          </p:cNvCxnSpPr>
          <p:nvPr/>
        </p:nvCxnSpPr>
        <p:spPr>
          <a:xfrm rot="16200000" flipV="1">
            <a:off x="7243808" y="3289792"/>
            <a:ext cx="360040" cy="6384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ector de seta reta 233"/>
          <p:cNvCxnSpPr>
            <a:stCxn id="292" idx="0"/>
            <a:endCxn id="311" idx="2"/>
          </p:cNvCxnSpPr>
          <p:nvPr/>
        </p:nvCxnSpPr>
        <p:spPr>
          <a:xfrm flipV="1">
            <a:off x="7104600" y="2006900"/>
            <a:ext cx="0" cy="1005023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ector de seta reta 245"/>
          <p:cNvCxnSpPr>
            <a:stCxn id="279" idx="2"/>
            <a:endCxn id="263" idx="0"/>
          </p:cNvCxnSpPr>
          <p:nvPr/>
        </p:nvCxnSpPr>
        <p:spPr>
          <a:xfrm>
            <a:off x="4107396" y="2559386"/>
            <a:ext cx="0" cy="729328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Fluxograma: Documento 246"/>
          <p:cNvSpPr/>
          <p:nvPr/>
        </p:nvSpPr>
        <p:spPr>
          <a:xfrm>
            <a:off x="6248400" y="4596099"/>
            <a:ext cx="853565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trucción </a:t>
            </a:r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mbarque</a:t>
            </a:r>
          </a:p>
        </p:txBody>
      </p:sp>
      <p:sp>
        <p:nvSpPr>
          <p:cNvPr id="297" name="Fluxograma: Documento 247"/>
          <p:cNvSpPr/>
          <p:nvPr/>
        </p:nvSpPr>
        <p:spPr>
          <a:xfrm>
            <a:off x="4305672" y="4167781"/>
            <a:ext cx="799728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actura </a:t>
            </a:r>
            <a:r>
              <a:rPr lang="es-A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mercial</a:t>
            </a:r>
          </a:p>
        </p:txBody>
      </p:sp>
      <p:sp>
        <p:nvSpPr>
          <p:cNvPr id="298" name="Fluxograma: Documento 248"/>
          <p:cNvSpPr/>
          <p:nvPr/>
        </p:nvSpPr>
        <p:spPr>
          <a:xfrm>
            <a:off x="1294040" y="3932722"/>
            <a:ext cx="915760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roforma</a:t>
            </a:r>
            <a:endParaRPr lang="es-AR" sz="1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99" name="Conector de seta reta 36"/>
          <p:cNvCxnSpPr>
            <a:stCxn id="263" idx="2"/>
            <a:endCxn id="297" idx="1"/>
          </p:cNvCxnSpPr>
          <p:nvPr/>
        </p:nvCxnSpPr>
        <p:spPr>
          <a:xfrm rot="16200000" flipH="1">
            <a:off x="3871270" y="3941917"/>
            <a:ext cx="670529" cy="198276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Conector de seta reta 104"/>
          <p:cNvCxnSpPr>
            <a:stCxn id="264" idx="2"/>
            <a:endCxn id="296" idx="1"/>
          </p:cNvCxnSpPr>
          <p:nvPr/>
        </p:nvCxnSpPr>
        <p:spPr>
          <a:xfrm rot="16200000" flipH="1">
            <a:off x="5547794" y="4104032"/>
            <a:ext cx="943590" cy="457622"/>
          </a:xfrm>
          <a:prstGeom prst="bentConnector2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1" name="Retângulo 251"/>
          <p:cNvSpPr/>
          <p:nvPr/>
        </p:nvSpPr>
        <p:spPr>
          <a:xfrm>
            <a:off x="2446171" y="1538134"/>
            <a:ext cx="906630" cy="428894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Picking</a:t>
            </a:r>
          </a:p>
          <a:p>
            <a:pPr algn="ctr"/>
            <a:r>
              <a:rPr lang="es-AR" sz="1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Packing</a:t>
            </a:r>
          </a:p>
        </p:txBody>
      </p:sp>
      <p:cxnSp>
        <p:nvCxnSpPr>
          <p:cNvPr id="302" name="Conector de seta reta 252"/>
          <p:cNvCxnSpPr>
            <a:stCxn id="278" idx="0"/>
            <a:endCxn id="301" idx="2"/>
          </p:cNvCxnSpPr>
          <p:nvPr/>
        </p:nvCxnSpPr>
        <p:spPr>
          <a:xfrm flipV="1">
            <a:off x="2899486" y="1967028"/>
            <a:ext cx="0" cy="16898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Fluxograma: Documento 253"/>
          <p:cNvSpPr/>
          <p:nvPr/>
        </p:nvSpPr>
        <p:spPr>
          <a:xfrm>
            <a:off x="6248400" y="4092043"/>
            <a:ext cx="853565" cy="417077"/>
          </a:xfrm>
          <a:prstGeom prst="flowChartDocument">
            <a:avLst/>
          </a:prstGeom>
          <a:solidFill>
            <a:schemeClr val="accent5">
              <a:lumMod val="75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firmación Embarque</a:t>
            </a:r>
          </a:p>
        </p:txBody>
      </p:sp>
      <p:cxnSp>
        <p:nvCxnSpPr>
          <p:cNvPr id="304" name="Conector de seta reta 104"/>
          <p:cNvCxnSpPr>
            <a:stCxn id="264" idx="2"/>
            <a:endCxn id="303" idx="1"/>
          </p:cNvCxnSpPr>
          <p:nvPr/>
        </p:nvCxnSpPr>
        <p:spPr>
          <a:xfrm rot="16200000" flipH="1">
            <a:off x="5799822" y="3852004"/>
            <a:ext cx="439534" cy="457622"/>
          </a:xfrm>
          <a:prstGeom prst="bentConnector2">
            <a:avLst/>
          </a:prstGeom>
          <a:ln w="15875">
            <a:solidFill>
              <a:schemeClr val="bg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8" name="Retângulo 88"/>
          <p:cNvSpPr/>
          <p:nvPr/>
        </p:nvSpPr>
        <p:spPr>
          <a:xfrm>
            <a:off x="5181600" y="5661248"/>
            <a:ext cx="950400" cy="510952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eclaración Exportación</a:t>
            </a:r>
          </a:p>
        </p:txBody>
      </p:sp>
      <p:sp>
        <p:nvSpPr>
          <p:cNvPr id="309" name="Retângulo 89"/>
          <p:cNvSpPr/>
          <p:nvPr/>
        </p:nvSpPr>
        <p:spPr>
          <a:xfrm>
            <a:off x="7287904" y="5661248"/>
            <a:ext cx="914400" cy="510952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astos</a:t>
            </a:r>
            <a:endParaRPr lang="es-AR" sz="11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0" name="Retângulo 91"/>
          <p:cNvSpPr/>
          <p:nvPr/>
        </p:nvSpPr>
        <p:spPr>
          <a:xfrm>
            <a:off x="7772400" y="1610900"/>
            <a:ext cx="1008112" cy="396000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Factura de Gastos</a:t>
            </a:r>
            <a:endParaRPr lang="es-AR" sz="10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11" name="Retângulo 92"/>
          <p:cNvSpPr/>
          <p:nvPr/>
        </p:nvSpPr>
        <p:spPr>
          <a:xfrm>
            <a:off x="6629400" y="1610900"/>
            <a:ext cx="950400" cy="396000"/>
          </a:xfrm>
          <a:prstGeom prst="rect">
            <a:avLst/>
          </a:prstGeom>
          <a:solidFill>
            <a:schemeClr val="accent1"/>
          </a:solidFill>
          <a:effectLst>
            <a:outerShdw blurRad="40000" dist="20000" dir="5400000" rotWithShape="0">
              <a:schemeClr val="accent2">
                <a:alpha val="38000"/>
              </a:scheme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Solicitud </a:t>
            </a:r>
            <a:r>
              <a:rPr lang="es-AR" sz="9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Adelanto Gasto</a:t>
            </a:r>
          </a:p>
        </p:txBody>
      </p:sp>
      <p:cxnSp>
        <p:nvCxnSpPr>
          <p:cNvPr id="312" name="Conector de seta reta 93"/>
          <p:cNvCxnSpPr>
            <a:stCxn id="311" idx="3"/>
            <a:endCxn id="310" idx="1"/>
          </p:cNvCxnSpPr>
          <p:nvPr/>
        </p:nvCxnSpPr>
        <p:spPr>
          <a:xfrm>
            <a:off x="7579800" y="1808900"/>
            <a:ext cx="192600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Conector de seta reta 108"/>
          <p:cNvCxnSpPr>
            <a:stCxn id="309" idx="0"/>
            <a:endCxn id="265" idx="2"/>
          </p:cNvCxnSpPr>
          <p:nvPr/>
        </p:nvCxnSpPr>
        <p:spPr>
          <a:xfrm flipH="1" flipV="1">
            <a:off x="7743056" y="4206117"/>
            <a:ext cx="2048" cy="1455131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4" name="Hexágono 114"/>
          <p:cNvSpPr/>
          <p:nvPr/>
        </p:nvSpPr>
        <p:spPr>
          <a:xfrm>
            <a:off x="4282734" y="4693965"/>
            <a:ext cx="898866" cy="394949"/>
          </a:xfrm>
          <a:prstGeom prst="hexagon">
            <a:avLst>
              <a:gd name="adj" fmla="val 14181"/>
              <a:gd name="vf" fmla="val 115470"/>
            </a:avLst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olicitud </a:t>
            </a:r>
            <a:r>
              <a:rPr lang="es-AR" sz="8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Declaración</a:t>
            </a:r>
            <a:endParaRPr lang="es-AR" sz="8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315" name="Conector de seta reta 115"/>
          <p:cNvCxnSpPr>
            <a:stCxn id="308" idx="0"/>
            <a:endCxn id="290" idx="2"/>
          </p:cNvCxnSpPr>
          <p:nvPr/>
        </p:nvCxnSpPr>
        <p:spPr>
          <a:xfrm flipV="1">
            <a:off x="5656800" y="5274996"/>
            <a:ext cx="8572" cy="386252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Conector de seta reta 33"/>
          <p:cNvCxnSpPr>
            <a:endCxn id="308" idx="1"/>
          </p:cNvCxnSpPr>
          <p:nvPr/>
        </p:nvCxnSpPr>
        <p:spPr>
          <a:xfrm rot="16200000" flipH="1">
            <a:off x="4534389" y="5269513"/>
            <a:ext cx="827808" cy="466614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Conector de seta reta 33"/>
          <p:cNvCxnSpPr>
            <a:stCxn id="290" idx="0"/>
            <a:endCxn id="263" idx="2"/>
          </p:cNvCxnSpPr>
          <p:nvPr/>
        </p:nvCxnSpPr>
        <p:spPr>
          <a:xfrm rot="16200000" flipV="1">
            <a:off x="4310320" y="3502867"/>
            <a:ext cx="1152128" cy="1557976"/>
          </a:xfrm>
          <a:prstGeom prst="bentConnector3">
            <a:avLst>
              <a:gd name="adj1" fmla="val 72994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Conector reto 160"/>
          <p:cNvCxnSpPr/>
          <p:nvPr/>
        </p:nvCxnSpPr>
        <p:spPr>
          <a:xfrm>
            <a:off x="35496" y="5517232"/>
            <a:ext cx="914400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9" name="Conector de seta reta 36"/>
          <p:cNvCxnSpPr>
            <a:stCxn id="264" idx="3"/>
            <a:endCxn id="265" idx="1"/>
          </p:cNvCxnSpPr>
          <p:nvPr/>
        </p:nvCxnSpPr>
        <p:spPr>
          <a:xfrm>
            <a:off x="6247555" y="3652509"/>
            <a:ext cx="991445" cy="345070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61 CuadroTexto"/>
          <p:cNvSpPr txBox="1"/>
          <p:nvPr/>
        </p:nvSpPr>
        <p:spPr>
          <a:xfrm>
            <a:off x="0" y="1288457"/>
            <a:ext cx="866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P</a:t>
            </a:r>
          </a:p>
        </p:txBody>
      </p:sp>
      <p:sp>
        <p:nvSpPr>
          <p:cNvPr id="63" name="Retângulo 88"/>
          <p:cNvSpPr/>
          <p:nvPr/>
        </p:nvSpPr>
        <p:spPr>
          <a:xfrm>
            <a:off x="1219200" y="5678923"/>
            <a:ext cx="1028700" cy="493277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1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Licencias de Exportación</a:t>
            </a:r>
            <a:endParaRPr lang="es-AR" sz="11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4" name="Retângulo 181">
            <a:hlinkClick r:id="" action="ppaction://noaction"/>
          </p:cNvPr>
          <p:cNvSpPr/>
          <p:nvPr/>
        </p:nvSpPr>
        <p:spPr>
          <a:xfrm>
            <a:off x="1295400" y="4572000"/>
            <a:ext cx="915760" cy="417077"/>
          </a:xfrm>
          <a:prstGeom prst="rect">
            <a:avLst/>
          </a:prstGeom>
          <a:solidFill>
            <a:srgbClr val="3B6C95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strucciones de Embarque</a:t>
            </a:r>
            <a:endParaRPr lang="es-AR" sz="1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65" name="Conector de seta reta 216"/>
          <p:cNvCxnSpPr>
            <a:stCxn id="298" idx="2"/>
            <a:endCxn id="64" idx="0"/>
          </p:cNvCxnSpPr>
          <p:nvPr/>
        </p:nvCxnSpPr>
        <p:spPr>
          <a:xfrm>
            <a:off x="1751920" y="4322226"/>
            <a:ext cx="1360" cy="24977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de seta reta 216"/>
          <p:cNvCxnSpPr/>
          <p:nvPr/>
        </p:nvCxnSpPr>
        <p:spPr>
          <a:xfrm>
            <a:off x="1788600" y="5029200"/>
            <a:ext cx="0" cy="60960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Hexágono 114"/>
          <p:cNvSpPr/>
          <p:nvPr/>
        </p:nvSpPr>
        <p:spPr>
          <a:xfrm>
            <a:off x="2438400" y="5715000"/>
            <a:ext cx="1066800" cy="457200"/>
          </a:xfrm>
          <a:prstGeom prst="hexagon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9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probación/Rectificación</a:t>
            </a:r>
            <a:endParaRPr lang="es-AR" sz="9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77" name="Conector de seta reta 104"/>
          <p:cNvCxnSpPr>
            <a:endCxn id="262" idx="1"/>
          </p:cNvCxnSpPr>
          <p:nvPr/>
        </p:nvCxnSpPr>
        <p:spPr>
          <a:xfrm rot="16200000" flipV="1">
            <a:off x="1562011" y="4381411"/>
            <a:ext cx="2217748" cy="449430"/>
          </a:xfrm>
          <a:prstGeom prst="bentConnector4">
            <a:avLst>
              <a:gd name="adj1" fmla="val 45298"/>
              <a:gd name="adj2" fmla="val 150864"/>
            </a:avLst>
          </a:prstGeom>
          <a:ln w="15875">
            <a:solidFill>
              <a:schemeClr val="bg2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3" name="Conector de seta reta 212"/>
          <p:cNvCxnSpPr>
            <a:endCxn id="76" idx="3"/>
          </p:cNvCxnSpPr>
          <p:nvPr/>
        </p:nvCxnSpPr>
        <p:spPr>
          <a:xfrm>
            <a:off x="2327985" y="5943600"/>
            <a:ext cx="110415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tângulo 88"/>
          <p:cNvSpPr/>
          <p:nvPr/>
        </p:nvSpPr>
        <p:spPr>
          <a:xfrm>
            <a:off x="8278504" y="5661248"/>
            <a:ext cx="791344" cy="510952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Ajustes Valores Finales</a:t>
            </a:r>
          </a:p>
        </p:txBody>
      </p:sp>
      <p:sp>
        <p:nvSpPr>
          <p:cNvPr id="71" name="Hexágono 114"/>
          <p:cNvSpPr/>
          <p:nvPr/>
        </p:nvSpPr>
        <p:spPr>
          <a:xfrm>
            <a:off x="5105400" y="6324600"/>
            <a:ext cx="1026600" cy="457200"/>
          </a:xfrm>
          <a:prstGeom prst="hexagon">
            <a:avLst/>
          </a:prstGeom>
          <a:solidFill>
            <a:srgbClr val="FF66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36000" rIns="0" bIns="36000" rtlCol="0" anchor="ctr"/>
          <a:lstStyle/>
          <a:p>
            <a:pPr algn="ctr"/>
            <a:r>
              <a:rPr lang="es-AR" sz="1000" b="1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xp</a:t>
            </a:r>
            <a:r>
              <a:rPr lang="es-AR" sz="1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Consignada</a:t>
            </a:r>
            <a:endParaRPr lang="es-AR" sz="1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50" name="Conector de seta reta 115"/>
          <p:cNvCxnSpPr/>
          <p:nvPr/>
        </p:nvCxnSpPr>
        <p:spPr>
          <a:xfrm>
            <a:off x="5665372" y="6226323"/>
            <a:ext cx="0" cy="98277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Conector de seta reta 36"/>
          <p:cNvCxnSpPr>
            <a:stCxn id="71" idx="0"/>
            <a:endCxn id="70" idx="2"/>
          </p:cNvCxnSpPr>
          <p:nvPr/>
        </p:nvCxnSpPr>
        <p:spPr>
          <a:xfrm flipV="1">
            <a:off x="6132000" y="6172200"/>
            <a:ext cx="2542176" cy="381000"/>
          </a:xfrm>
          <a:prstGeom prst="bentConnector2">
            <a:avLst/>
          </a:prstGeom>
          <a:ln w="19050">
            <a:solidFill>
              <a:schemeClr val="bg1">
                <a:lumMod val="6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1 Título"/>
          <p:cNvSpPr>
            <a:spLocks noGrp="1"/>
          </p:cNvSpPr>
          <p:nvPr>
            <p:ph type="title"/>
          </p:nvPr>
        </p:nvSpPr>
        <p:spPr>
          <a:xfrm>
            <a:off x="385303" y="69677"/>
            <a:ext cx="7369175" cy="836612"/>
          </a:xfrm>
        </p:spPr>
        <p:txBody>
          <a:bodyPr/>
          <a:lstStyle/>
          <a:p>
            <a:r>
              <a:rPr lang="es-MX" dirty="0" smtClean="0"/>
              <a:t>FLUJO MODELO EXPORTACION</a:t>
            </a:r>
            <a:endParaRPr lang="es-AR" dirty="0"/>
          </a:p>
        </p:txBody>
      </p:sp>
      <p:sp>
        <p:nvSpPr>
          <p:cNvPr id="78" name="4 CuadroTexto"/>
          <p:cNvSpPr txBox="1"/>
          <p:nvPr/>
        </p:nvSpPr>
        <p:spPr>
          <a:xfrm>
            <a:off x="-36512" y="5691196"/>
            <a:ext cx="18779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200" b="1" dirty="0" smtClean="0">
                <a:solidFill>
                  <a:schemeClr val="tx2"/>
                </a:solidFill>
              </a:rPr>
              <a:t>BROKER/ </a:t>
            </a:r>
          </a:p>
          <a:p>
            <a:r>
              <a:rPr lang="es-AR" sz="1200" b="1" dirty="0" smtClean="0">
                <a:solidFill>
                  <a:schemeClr val="tx2"/>
                </a:solidFill>
              </a:rPr>
              <a:t>AGENTE DE</a:t>
            </a:r>
          </a:p>
          <a:p>
            <a:r>
              <a:rPr lang="es-AR" sz="1200" b="1" dirty="0" smtClean="0">
                <a:solidFill>
                  <a:schemeClr val="tx2"/>
                </a:solidFill>
              </a:rPr>
              <a:t>ADUANA</a:t>
            </a:r>
            <a:endParaRPr lang="es-AR" sz="12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335" y="990600"/>
            <a:ext cx="7493330" cy="390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45" descr="C:\Users\Pablo_Goop\Desktop\SOFTWAY\Softway\Templates\Imagenes\impor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314" y="4013576"/>
            <a:ext cx="994086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4869489"/>
            <a:ext cx="16192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534888" y="785879"/>
            <a:ext cx="8049551" cy="4993883"/>
            <a:chOff x="616777" y="1092841"/>
            <a:chExt cx="7844834" cy="4993883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777" y="1092841"/>
              <a:ext cx="7844834" cy="49938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6" name="Straight Arrow Connector 5"/>
            <p:cNvCxnSpPr/>
            <p:nvPr/>
          </p:nvCxnSpPr>
          <p:spPr>
            <a:xfrm>
              <a:off x="4343400" y="5061047"/>
              <a:ext cx="0" cy="382137"/>
            </a:xfrm>
            <a:prstGeom prst="straightConnector1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 flipV="1">
              <a:off x="4572000" y="5074695"/>
              <a:ext cx="0" cy="382137"/>
            </a:xfrm>
            <a:prstGeom prst="straightConnector1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13" descr="Description: Routes 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155" y="417470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/>
          <a:srcRect l="7467" t="35063" r="10032" b="38359"/>
          <a:stretch>
            <a:fillRect/>
          </a:stretch>
        </p:blipFill>
        <p:spPr bwMode="auto">
          <a:xfrm>
            <a:off x="2523472" y="423651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ounded Rectangle 1"/>
          <p:cNvSpPr/>
          <p:nvPr/>
        </p:nvSpPr>
        <p:spPr>
          <a:xfrm>
            <a:off x="2605443" y="4145047"/>
            <a:ext cx="3809005" cy="565845"/>
          </a:xfrm>
          <a:prstGeom prst="roundRect">
            <a:avLst>
              <a:gd name="adj" fmla="val 26315"/>
            </a:avLst>
          </a:prstGeom>
          <a:noFill/>
          <a:ln>
            <a:solidFill>
              <a:srgbClr val="37C1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860502" y="4013576"/>
            <a:ext cx="3329326" cy="1611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999254" y="4670952"/>
            <a:ext cx="3135981" cy="864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915" y="5566638"/>
            <a:ext cx="1619250" cy="1001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7765576" y="785879"/>
            <a:ext cx="1039632" cy="191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0641" y="823125"/>
            <a:ext cx="1039632" cy="191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1 Título"/>
          <p:cNvSpPr>
            <a:spLocks noGrp="1"/>
          </p:cNvSpPr>
          <p:nvPr>
            <p:ph type="title"/>
          </p:nvPr>
        </p:nvSpPr>
        <p:spPr>
          <a:xfrm>
            <a:off x="385303" y="69677"/>
            <a:ext cx="7369175" cy="836612"/>
          </a:xfrm>
        </p:spPr>
        <p:txBody>
          <a:bodyPr/>
          <a:lstStyle/>
          <a:p>
            <a:r>
              <a:rPr lang="es-MX" dirty="0" smtClean="0"/>
              <a:t>MODELO END TO END</a:t>
            </a:r>
            <a:endParaRPr lang="es-AR" dirty="0"/>
          </a:p>
        </p:txBody>
      </p:sp>
      <p:pic>
        <p:nvPicPr>
          <p:cNvPr id="18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819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GRACIÓN CON LOS PRINCIPALES ERPs</a:t>
            </a:r>
            <a:endParaRPr lang="en-US" dirty="0"/>
          </a:p>
        </p:txBody>
      </p:sp>
      <p:sp>
        <p:nvSpPr>
          <p:cNvPr id="4" name="Retângulo 4"/>
          <p:cNvSpPr/>
          <p:nvPr/>
        </p:nvSpPr>
        <p:spPr>
          <a:xfrm>
            <a:off x="1235209" y="1220973"/>
            <a:ext cx="6624115" cy="2265469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9900"/>
            </a:solidFill>
            <a:prstDash val="solid"/>
          </a:ln>
          <a:effectLst/>
        </p:spPr>
        <p:txBody>
          <a:bodyPr anchor="b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993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tegration</a:t>
            </a: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FF993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Plug-ins</a:t>
            </a:r>
          </a:p>
        </p:txBody>
      </p:sp>
      <p:pic>
        <p:nvPicPr>
          <p:cNvPr id="5" name="Imagem 1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90650" y="2471126"/>
            <a:ext cx="717506" cy="71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m 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8082" y="2471126"/>
            <a:ext cx="732882" cy="73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9"/>
          <p:cNvSpPr/>
          <p:nvPr/>
        </p:nvSpPr>
        <p:spPr>
          <a:xfrm>
            <a:off x="1234588" y="4709786"/>
            <a:ext cx="6624736" cy="428753"/>
          </a:xfrm>
          <a:prstGeom prst="rect">
            <a:avLst/>
          </a:prstGeom>
          <a:solidFill>
            <a:schemeClr val="tx2"/>
          </a:solidFill>
          <a:ln w="25400" cap="flat" cmpd="sng" algn="ctr">
            <a:solidFill>
              <a:srgbClr val="FF9900"/>
            </a:solidFill>
            <a:prstDash val="solid"/>
          </a:ln>
          <a:effectLst/>
        </p:spPr>
        <p:txBody>
          <a:bodyPr anchor="b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FF9933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97559" y="1336288"/>
            <a:ext cx="1568263" cy="959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http://ts2.mm.bing.net/th?id=I4836305616504485&amp;pid=1.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3327" y="1533206"/>
            <a:ext cx="1284957" cy="668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1691" y="2557308"/>
            <a:ext cx="1029045" cy="49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240077" y="4731629"/>
            <a:ext cx="6601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NESOURCE GLOBAL TRAD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Retângulo 9"/>
          <p:cNvSpPr/>
          <p:nvPr/>
        </p:nvSpPr>
        <p:spPr>
          <a:xfrm>
            <a:off x="1234588" y="3922734"/>
            <a:ext cx="6624736" cy="448849"/>
          </a:xfrm>
          <a:prstGeom prst="rect">
            <a:avLst/>
          </a:prstGeom>
          <a:solidFill>
            <a:srgbClr val="4385C1"/>
          </a:solidFill>
          <a:ln w="25400" cap="flat" cmpd="sng" algn="ctr">
            <a:solidFill>
              <a:srgbClr val="88B0E0"/>
            </a:solidFill>
            <a:prstDash val="solid"/>
          </a:ln>
          <a:effectLst/>
        </p:spPr>
        <p:txBody>
          <a:bodyPr anchor="b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FF9933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52603" y="3972839"/>
            <a:ext cx="6601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TEGRACIÓN ERP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Up-Down Arrow 17"/>
          <p:cNvSpPr/>
          <p:nvPr/>
        </p:nvSpPr>
        <p:spPr>
          <a:xfrm>
            <a:off x="4344986" y="4354697"/>
            <a:ext cx="145595" cy="330038"/>
          </a:xfrm>
          <a:prstGeom prst="upDownArrow">
            <a:avLst/>
          </a:prstGeom>
          <a:solidFill>
            <a:srgbClr val="4B4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tângulo 9"/>
          <p:cNvSpPr/>
          <p:nvPr/>
        </p:nvSpPr>
        <p:spPr>
          <a:xfrm>
            <a:off x="1208762" y="5486400"/>
            <a:ext cx="6624736" cy="446234"/>
          </a:xfrm>
          <a:prstGeom prst="rect">
            <a:avLst/>
          </a:prstGeom>
          <a:solidFill>
            <a:srgbClr val="4385C1"/>
          </a:solidFill>
          <a:ln w="25400" cap="flat" cmpd="sng" algn="ctr">
            <a:solidFill>
              <a:srgbClr val="88B0E0"/>
            </a:solidFill>
            <a:prstDash val="solid"/>
          </a:ln>
          <a:effectLst/>
        </p:spPr>
        <p:txBody>
          <a:bodyPr anchor="b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ROVEEDORES</a:t>
            </a:r>
            <a:r>
              <a:rPr lang="en-US" sz="1400" b="1" kern="0" dirty="0">
                <a:solidFill>
                  <a:srgbClr val="FF9933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DE </a:t>
            </a:r>
            <a:r>
              <a:rPr lang="en-US" dirty="0" smtClean="0">
                <a:solidFill>
                  <a:schemeClr val="bg1"/>
                </a:solidFill>
              </a:rPr>
              <a:t>SERVICIOS (AG. ADUANA / 3PL)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Up-Down Arrow 20"/>
          <p:cNvSpPr/>
          <p:nvPr/>
        </p:nvSpPr>
        <p:spPr>
          <a:xfrm>
            <a:off x="4363009" y="5136265"/>
            <a:ext cx="145595" cy="330038"/>
          </a:xfrm>
          <a:prstGeom prst="upDownArrow">
            <a:avLst/>
          </a:prstGeom>
          <a:solidFill>
            <a:srgbClr val="4B4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13" descr="Description: Routes 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9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0" descr="http://www.bslion.in/images/oracle-logo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0980" y="2367989"/>
            <a:ext cx="1096392" cy="668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0979" y="1487306"/>
            <a:ext cx="1266149" cy="641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4" descr="https://encrypted-tbn1.gstatic.com/images?q=tbn:ANd9GcT1I5eWnI08BAx7foGTdqFFgKikucPs-0DqS3UUUKrv487m2NykQw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300" y="1961863"/>
            <a:ext cx="406126" cy="40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https://encrypted-tbn1.gstatic.com/images?q=tbn:ANd9GcT1I5eWnI08BAx7foGTdqFFgKikucPs-0DqS3UUUKrv487m2NykQw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300" y="3025870"/>
            <a:ext cx="355381" cy="35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/>
        </p:nvCxnSpPr>
        <p:spPr>
          <a:xfrm>
            <a:off x="3098042" y="1545886"/>
            <a:ext cx="0" cy="166196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301" y="2376868"/>
            <a:ext cx="936942" cy="858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865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3869777"/>
              </p:ext>
            </p:extLst>
          </p:nvPr>
        </p:nvGraphicFramePr>
        <p:xfrm>
          <a:off x="343412" y="1021148"/>
          <a:ext cx="8533266" cy="49935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8297"/>
                <a:gridCol w="4244969"/>
              </a:tblGrid>
              <a:tr h="58057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Knowledge Bold"/>
                          <a:cs typeface="Knowledge Bold"/>
                        </a:rPr>
                        <a:t>PROCESO MANUAL </a:t>
                      </a:r>
                      <a:r>
                        <a:rPr lang="en-US" sz="1400" dirty="0" smtClean="0">
                          <a:latin typeface="Knowledge Bold"/>
                          <a:cs typeface="Knowledge Bold"/>
                        </a:rPr>
                        <a:t>/</a:t>
                      </a:r>
                      <a:r>
                        <a:rPr lang="en-US" sz="1400" baseline="0" dirty="0" smtClean="0">
                          <a:latin typeface="Knowledge Bold"/>
                          <a:cs typeface="Knowledge Bold"/>
                        </a:rPr>
                        <a:t> </a:t>
                      </a:r>
                      <a:r>
                        <a:rPr lang="en-US" sz="1400" baseline="0" dirty="0" smtClean="0">
                          <a:latin typeface="Knowledge Bold"/>
                          <a:cs typeface="Knowledge Bold"/>
                        </a:rPr>
                        <a:t>PLANILLAS DE CALCULO / SYS LEGADOS /  </a:t>
                      </a:r>
                      <a:endParaRPr lang="en-US" sz="1800" dirty="0">
                        <a:latin typeface="Knowledge Bold"/>
                        <a:cs typeface="Knowledge Bold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>
                          <a:latin typeface="Knowledge Bold"/>
                          <a:cs typeface="Knowledge Bold"/>
                        </a:rPr>
                        <a:t>Tecnología</a:t>
                      </a:r>
                      <a:r>
                        <a:rPr lang="en-US" sz="2000" dirty="0" smtClean="0">
                          <a:latin typeface="Knowledge Bold"/>
                          <a:cs typeface="Knowledge Bold"/>
                        </a:rPr>
                        <a:t> GTM</a:t>
                      </a:r>
                      <a:endParaRPr lang="en-US" sz="2000" dirty="0">
                        <a:latin typeface="Knowledge Bold"/>
                        <a:cs typeface="Knowledge Bold"/>
                      </a:endParaRPr>
                    </a:p>
                  </a:txBody>
                  <a:tcPr anchor="ctr">
                    <a:solidFill>
                      <a:srgbClr val="FF8000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        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Carga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manual de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Interface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automátic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(ERP)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        Sin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reportes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estadístic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KPl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y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reporte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limitado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        No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permite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intercambio</a:t>
                      </a:r>
                      <a:r>
                        <a:rPr lang="en-US" sz="160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endParaRPr lang="en-US" sz="1600" dirty="0" smtClean="0">
                        <a:latin typeface="Knowledge Regular"/>
                        <a:cs typeface="Knowledge Regular"/>
                      </a:endParaRPr>
                    </a:p>
                    <a:p>
                      <a:r>
                        <a:rPr lang="en-US" sz="1600" baseline="0" dirty="0" smtClean="0">
                          <a:latin typeface="Knowledge Regular"/>
                          <a:cs typeface="Knowledge Regular"/>
                        </a:rPr>
                        <a:t>         con </a:t>
                      </a:r>
                      <a:r>
                        <a:rPr lang="en-US" sz="1600" baseline="0" dirty="0" err="1" smtClean="0">
                          <a:latin typeface="Knowledge Regular"/>
                          <a:cs typeface="Knowledge Regular"/>
                        </a:rPr>
                        <a:t>socios</a:t>
                      </a:r>
                      <a:endParaRPr lang="en-US" sz="160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Intercambi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at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nativ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ntre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Socio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Información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esactualizada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Sistema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simple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para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actualizar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la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nformación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ste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basad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n la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fac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l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veedor</a:t>
                      </a:r>
                      <a:r>
                        <a:rPr lang="en-US" sz="1600" baseline="0" dirty="0" smtClean="0"/>
                        <a:t>     </a:t>
                      </a:r>
                      <a:endParaRPr lang="en-US" sz="16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álcul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st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automátic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Sin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ber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ant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ambi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legale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bertu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ante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ambios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legales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Utilidad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exclusiv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ar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l </a:t>
                      </a:r>
                    </a:p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departament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logístic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Envuelve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a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tod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l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áreas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de la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compañia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5808"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Solo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ubre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parte del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ceso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Controla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todo</a:t>
                      </a:r>
                      <a:r>
                        <a:rPr lang="en-US" sz="1600" b="0" i="0" dirty="0" smtClean="0">
                          <a:latin typeface="Knowledge Regular"/>
                          <a:cs typeface="Knowledge Regular"/>
                        </a:rPr>
                        <a:t> el </a:t>
                      </a:r>
                      <a:r>
                        <a:rPr lang="en-US" sz="1600" b="0" i="0" dirty="0" err="1" smtClean="0">
                          <a:latin typeface="Knowledge Regular"/>
                          <a:cs typeface="Knowledge Regular"/>
                        </a:rPr>
                        <a:t>proceso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de </a:t>
                      </a:r>
                    </a:p>
                    <a:p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       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importación</a:t>
                      </a:r>
                      <a:r>
                        <a:rPr lang="en-US" sz="1600" b="0" i="0" baseline="0" dirty="0" smtClean="0">
                          <a:latin typeface="Knowledge Regular"/>
                          <a:cs typeface="Knowledge Regular"/>
                        </a:rPr>
                        <a:t> / </a:t>
                      </a:r>
                      <a:r>
                        <a:rPr lang="en-US" sz="1600" b="0" i="0" baseline="0" dirty="0" err="1" smtClean="0">
                          <a:latin typeface="Knowledge Regular"/>
                          <a:cs typeface="Knowledge Regular"/>
                        </a:rPr>
                        <a:t>exportación</a:t>
                      </a:r>
                      <a:endParaRPr lang="en-US" sz="1600" b="0" i="0" dirty="0">
                        <a:latin typeface="Knowledge Regular"/>
                        <a:cs typeface="Knowledge Regular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8" name="Picture 7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296" y="1611533"/>
            <a:ext cx="469900" cy="342900"/>
          </a:xfrm>
          <a:prstGeom prst="rect">
            <a:avLst/>
          </a:prstGeom>
        </p:spPr>
      </p:pic>
      <p:pic>
        <p:nvPicPr>
          <p:cNvPr id="9" name="Picture 8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726" y="1647821"/>
            <a:ext cx="469900" cy="342900"/>
          </a:xfrm>
          <a:prstGeom prst="rect">
            <a:avLst/>
          </a:prstGeom>
        </p:spPr>
      </p:pic>
      <p:pic>
        <p:nvPicPr>
          <p:cNvPr id="10" name="Picture 9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824" y="2137673"/>
            <a:ext cx="469900" cy="342900"/>
          </a:xfrm>
          <a:prstGeom prst="rect">
            <a:avLst/>
          </a:prstGeom>
        </p:spPr>
      </p:pic>
      <p:pic>
        <p:nvPicPr>
          <p:cNvPr id="11" name="Picture 10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224" y="2718248"/>
            <a:ext cx="469900" cy="342900"/>
          </a:xfrm>
          <a:prstGeom prst="rect">
            <a:avLst/>
          </a:prstGeom>
        </p:spPr>
      </p:pic>
      <p:pic>
        <p:nvPicPr>
          <p:cNvPr id="12" name="Picture 11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77" y="3316961"/>
            <a:ext cx="469900" cy="342900"/>
          </a:xfrm>
          <a:prstGeom prst="rect">
            <a:avLst/>
          </a:prstGeom>
        </p:spPr>
      </p:pic>
      <p:pic>
        <p:nvPicPr>
          <p:cNvPr id="13" name="Picture 12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824" y="3924503"/>
            <a:ext cx="469900" cy="342900"/>
          </a:xfrm>
          <a:prstGeom prst="rect">
            <a:avLst/>
          </a:prstGeom>
        </p:spPr>
      </p:pic>
      <p:pic>
        <p:nvPicPr>
          <p:cNvPr id="14" name="Picture 13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43" y="4459471"/>
            <a:ext cx="469900" cy="342900"/>
          </a:xfrm>
          <a:prstGeom prst="rect">
            <a:avLst/>
          </a:prstGeom>
        </p:spPr>
      </p:pic>
      <p:pic>
        <p:nvPicPr>
          <p:cNvPr id="15" name="Picture 14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44" y="5017079"/>
            <a:ext cx="469900" cy="342900"/>
          </a:xfrm>
          <a:prstGeom prst="rect">
            <a:avLst/>
          </a:prstGeom>
        </p:spPr>
      </p:pic>
      <p:pic>
        <p:nvPicPr>
          <p:cNvPr id="16" name="Picture 15" descr="dislik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588" y="5597488"/>
            <a:ext cx="469900" cy="342900"/>
          </a:xfrm>
          <a:prstGeom prst="rect">
            <a:avLst/>
          </a:prstGeom>
        </p:spPr>
      </p:pic>
      <p:pic>
        <p:nvPicPr>
          <p:cNvPr id="17" name="Picture 16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157" y="2142332"/>
            <a:ext cx="469900" cy="342900"/>
          </a:xfrm>
          <a:prstGeom prst="rect">
            <a:avLst/>
          </a:prstGeom>
        </p:spPr>
      </p:pic>
      <p:pic>
        <p:nvPicPr>
          <p:cNvPr id="18" name="Picture 17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412" y="2689220"/>
            <a:ext cx="469900" cy="342900"/>
          </a:xfrm>
          <a:prstGeom prst="rect">
            <a:avLst/>
          </a:prstGeom>
        </p:spPr>
      </p:pic>
      <p:pic>
        <p:nvPicPr>
          <p:cNvPr id="19" name="Picture 18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555" y="3333215"/>
            <a:ext cx="469900" cy="342900"/>
          </a:xfrm>
          <a:prstGeom prst="rect">
            <a:avLst/>
          </a:prstGeom>
        </p:spPr>
      </p:pic>
      <p:pic>
        <p:nvPicPr>
          <p:cNvPr id="20" name="Picture 19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811" y="3875445"/>
            <a:ext cx="469900" cy="342900"/>
          </a:xfrm>
          <a:prstGeom prst="rect">
            <a:avLst/>
          </a:prstGeom>
        </p:spPr>
      </p:pic>
      <p:pic>
        <p:nvPicPr>
          <p:cNvPr id="21" name="Picture 20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668" y="4396771"/>
            <a:ext cx="469900" cy="342900"/>
          </a:xfrm>
          <a:prstGeom prst="rect">
            <a:avLst/>
          </a:prstGeom>
        </p:spPr>
      </p:pic>
      <p:pic>
        <p:nvPicPr>
          <p:cNvPr id="22" name="Picture 21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924" y="4979782"/>
            <a:ext cx="469900" cy="342900"/>
          </a:xfrm>
          <a:prstGeom prst="rect">
            <a:avLst/>
          </a:prstGeom>
        </p:spPr>
      </p:pic>
      <p:pic>
        <p:nvPicPr>
          <p:cNvPr id="23" name="Picture 22" descr="lik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180" y="5585757"/>
            <a:ext cx="469900" cy="342900"/>
          </a:xfrm>
          <a:prstGeom prst="rect">
            <a:avLst/>
          </a:prstGeom>
        </p:spPr>
      </p:pic>
      <p:pic>
        <p:nvPicPr>
          <p:cNvPr id="31" name="Picture 30" descr="thomsonreuters_imagotipo copi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085" y="6242303"/>
            <a:ext cx="2597915" cy="505567"/>
          </a:xfrm>
          <a:prstGeom prst="rect">
            <a:avLst/>
          </a:prstGeom>
        </p:spPr>
      </p:pic>
      <p:pic>
        <p:nvPicPr>
          <p:cNvPr id="32" name="Picture 31" descr="onesource_GT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723" y="6312807"/>
            <a:ext cx="3534705" cy="327480"/>
          </a:xfrm>
          <a:prstGeom prst="rect">
            <a:avLst/>
          </a:prstGeom>
        </p:spPr>
      </p:pic>
      <p:sp>
        <p:nvSpPr>
          <p:cNvPr id="25" name="1 Título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s-AR" dirty="0" smtClean="0"/>
              <a:t>SISTEMA ACTUAL vs. GTM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265321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genda</a:t>
            </a: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762045" y="1628775"/>
            <a:ext cx="8245475" cy="2708434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pt-BR" sz="2000" dirty="0">
                <a:solidFill>
                  <a:schemeClr val="bg1"/>
                </a:solidFill>
              </a:rPr>
              <a:t>ERPs y la GESTION DE </a:t>
            </a:r>
            <a:r>
              <a:rPr lang="en-US" altLang="pt-BR" sz="2000" dirty="0">
                <a:solidFill>
                  <a:schemeClr val="bg1"/>
                </a:solidFill>
              </a:rPr>
              <a:t>OPERACIONES </a:t>
            </a:r>
            <a:r>
              <a:rPr lang="en-US" altLang="pt-BR" sz="2000" dirty="0">
                <a:solidFill>
                  <a:schemeClr val="bg1"/>
                </a:solidFill>
              </a:rPr>
              <a:t>DE COMEX</a:t>
            </a:r>
          </a:p>
          <a:p>
            <a:r>
              <a:rPr lang="en-US" altLang="pt-BR" sz="2000" dirty="0">
                <a:solidFill>
                  <a:schemeClr val="bg1"/>
                </a:solidFill>
              </a:rPr>
              <a:t>ACERCA DE </a:t>
            </a:r>
            <a:r>
              <a:rPr lang="pt-BR" altLang="pt-BR" sz="2000" dirty="0">
                <a:solidFill>
                  <a:schemeClr val="bg1"/>
                </a:solidFill>
              </a:rPr>
              <a:t>GLOBAL TRADE  MANAGEMENT</a:t>
            </a:r>
          </a:p>
          <a:p>
            <a:r>
              <a:rPr lang="pt-BR" altLang="pt-BR" sz="2400" b="1" dirty="0">
                <a:solidFill>
                  <a:schemeClr val="tx2"/>
                </a:solidFill>
              </a:rPr>
              <a:t>ACERCA DE THOMSON REUTERS ONESOURCE GTM</a:t>
            </a:r>
            <a:endParaRPr lang="en-US" altLang="pt-BR" sz="2000" b="1" dirty="0">
              <a:solidFill>
                <a:schemeClr val="tx2"/>
              </a:solidFill>
            </a:endParaRP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PREGUNTAS</a:t>
            </a:r>
            <a:endParaRPr lang="pt-BR" altLang="pt-BR" sz="2000" dirty="0" smtClean="0">
              <a:solidFill>
                <a:schemeClr val="bg1"/>
              </a:solidFill>
            </a:endParaRPr>
          </a:p>
          <a:p>
            <a:endParaRPr lang="en-US" altLang="pt-BR" sz="2000" dirty="0" smtClean="0"/>
          </a:p>
          <a:p>
            <a:endParaRPr lang="en-US" altLang="pt-BR" sz="2000" dirty="0"/>
          </a:p>
        </p:txBody>
      </p:sp>
    </p:spTree>
    <p:extLst>
      <p:ext uri="{BB962C8B-B14F-4D97-AF65-F5344CB8AC3E}">
        <p14:creationId xmlns:p14="http://schemas.microsoft.com/office/powerpoint/2010/main" val="35353702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>
            <a:spLocks noGrp="1"/>
          </p:cNvSpPr>
          <p:nvPr>
            <p:ph type="title"/>
          </p:nvPr>
        </p:nvSpPr>
        <p:spPr>
          <a:xfrm>
            <a:off x="371655" y="28733"/>
            <a:ext cx="7369175" cy="836612"/>
          </a:xfrm>
        </p:spPr>
        <p:txBody>
          <a:bodyPr/>
          <a:lstStyle/>
          <a:p>
            <a:pPr eaLnBrk="1" hangingPunct="1"/>
            <a:r>
              <a:rPr lang="es-AR" dirty="0" smtClean="0"/>
              <a:t>THOMSON REUTERS | </a:t>
            </a:r>
            <a:r>
              <a:rPr lang="es-AR" sz="2000" dirty="0" smtClean="0"/>
              <a:t>VERTICALES</a:t>
            </a:r>
          </a:p>
        </p:txBody>
      </p:sp>
      <p:pic>
        <p:nvPicPr>
          <p:cNvPr id="9" name="Picture 8" descr="F&amp;R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877967" y="1585010"/>
            <a:ext cx="944000" cy="407296"/>
          </a:xfrm>
          <a:prstGeom prst="rect">
            <a:avLst/>
          </a:prstGeom>
        </p:spPr>
      </p:pic>
      <p:pic>
        <p:nvPicPr>
          <p:cNvPr id="12" name="Picture 11" descr="legal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492136" y="1585010"/>
            <a:ext cx="769640" cy="407296"/>
          </a:xfrm>
          <a:prstGeom prst="rect">
            <a:avLst/>
          </a:prstGeom>
        </p:spPr>
      </p:pic>
      <p:pic>
        <p:nvPicPr>
          <p:cNvPr id="13" name="Picture 12" descr="media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005881" y="1585010"/>
            <a:ext cx="873167" cy="454973"/>
          </a:xfrm>
          <a:prstGeom prst="rect">
            <a:avLst/>
          </a:prstGeom>
        </p:spPr>
      </p:pic>
      <p:pic>
        <p:nvPicPr>
          <p:cNvPr id="15" name="Picture 14" descr="tax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6363057" y="1585010"/>
            <a:ext cx="1047527" cy="407296"/>
          </a:xfrm>
          <a:prstGeom prst="rect">
            <a:avLst/>
          </a:prstGeom>
        </p:spPr>
      </p:pic>
      <p:grpSp>
        <p:nvGrpSpPr>
          <p:cNvPr id="16" name="Group 10"/>
          <p:cNvGrpSpPr/>
          <p:nvPr/>
        </p:nvGrpSpPr>
        <p:grpSpPr>
          <a:xfrm>
            <a:off x="4716272" y="2180496"/>
            <a:ext cx="1385831" cy="3384376"/>
            <a:chOff x="3940466" y="2192878"/>
            <a:chExt cx="1228961" cy="3110805"/>
          </a:xfrm>
        </p:grpSpPr>
        <p:sp>
          <p:nvSpPr>
            <p:cNvPr id="17" name="TextBox 16"/>
            <p:cNvSpPr txBox="1"/>
            <p:nvPr>
              <p:custDataLst>
                <p:tags r:id="rId10"/>
              </p:custDataLst>
            </p:nvPr>
          </p:nvSpPr>
          <p:spPr>
            <a:xfrm>
              <a:off x="3940466" y="2192878"/>
              <a:ext cx="1228961" cy="3110805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91440" rIns="91440" bIns="91440" rtlCol="0">
              <a:noAutofit/>
            </a:bodyPr>
            <a:lstStyle/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ts val="300"/>
                </a:spcAft>
                <a:buNone/>
              </a:pPr>
              <a:r>
                <a:rPr lang="es-AR" sz="1000" dirty="0" smtClean="0">
                  <a:solidFill>
                    <a:srgbClr val="005A84"/>
                  </a:solidFill>
                </a:rPr>
                <a:t>FINANCIAL &amp; RISK </a:t>
              </a:r>
            </a:p>
            <a:p>
              <a:pPr fontAlgn="base">
                <a:spcAft>
                  <a:spcPct val="0"/>
                </a:spcAft>
                <a:buNone/>
              </a:pPr>
              <a:r>
                <a:rPr lang="es-AR" sz="1000" dirty="0" smtClean="0">
                  <a:solidFill>
                    <a:srgbClr val="FFFFFF">
                      <a:lumMod val="65000"/>
                    </a:srgbClr>
                  </a:solidFill>
                </a:rPr>
                <a:t>Soluciones de información para mercados financieros. Herramientas y servicios  para  cumplimiento corporativo</a:t>
              </a: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FFFFFF">
                    <a:lumMod val="65000"/>
                  </a:srgbClr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>
                <a:solidFill>
                  <a:srgbClr val="FFFFFF">
                    <a:lumMod val="65000"/>
                  </a:srgbClr>
                </a:solidFill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11"/>
              </p:custDataLst>
            </p:nvPr>
          </p:nvSpPr>
          <p:spPr bwMode="auto">
            <a:xfrm>
              <a:off x="4034332" y="2353660"/>
              <a:ext cx="1075340" cy="7296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Aft>
                  <a:spcPct val="0"/>
                </a:spcAft>
              </a:pPr>
              <a:endParaRPr lang="es-AR" sz="1000" b="1">
                <a:solidFill>
                  <a:srgbClr val="FFFFFF"/>
                </a:solidFill>
                <a:ea typeface="ＭＳ Ｐゴシック" charset="0"/>
              </a:endParaRPr>
            </a:p>
          </p:txBody>
        </p:sp>
        <p:pic>
          <p:nvPicPr>
            <p:cNvPr id="20" name="Picture 19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6165" y="2287047"/>
              <a:ext cx="1081726" cy="7296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" name="Picture 102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5644" y="4967368"/>
              <a:ext cx="615970" cy="1720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2" name="Group 57"/>
          <p:cNvGrpSpPr/>
          <p:nvPr/>
        </p:nvGrpSpPr>
        <p:grpSpPr>
          <a:xfrm>
            <a:off x="1700170" y="2180496"/>
            <a:ext cx="1385831" cy="3384376"/>
            <a:chOff x="1384384" y="2276850"/>
            <a:chExt cx="1228961" cy="3110805"/>
          </a:xfrm>
        </p:grpSpPr>
        <p:sp>
          <p:nvSpPr>
            <p:cNvPr id="23" name="TextBox 22"/>
            <p:cNvSpPr txBox="1"/>
            <p:nvPr>
              <p:custDataLst>
                <p:tags r:id="rId6"/>
              </p:custDataLst>
            </p:nvPr>
          </p:nvSpPr>
          <p:spPr>
            <a:xfrm>
              <a:off x="1384384" y="2276850"/>
              <a:ext cx="1228961" cy="3110805"/>
            </a:xfrm>
            <a:prstGeom prst="rect">
              <a:avLst/>
            </a:prstGeom>
            <a:noFill/>
            <a:ln w="19050"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91440" rIns="91440" bIns="91440" rtlCol="0">
              <a:noAutofit/>
            </a:bodyPr>
            <a:lstStyle/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005A84"/>
                </a:solidFill>
              </a:endParaRPr>
            </a:p>
            <a:p>
              <a:pPr fontAlgn="base">
                <a:spcAft>
                  <a:spcPts val="300"/>
                </a:spcAft>
                <a:buNone/>
              </a:pPr>
              <a:r>
                <a:rPr lang="es-AR" sz="1000" dirty="0" smtClean="0">
                  <a:solidFill>
                    <a:srgbClr val="005A84"/>
                  </a:solidFill>
                </a:rPr>
                <a:t>MEDIA</a:t>
              </a:r>
            </a:p>
            <a:p>
              <a:pPr fontAlgn="base">
                <a:spcAft>
                  <a:spcPct val="0"/>
                </a:spcAft>
                <a:buNone/>
              </a:pPr>
              <a:r>
                <a:rPr lang="es-AR" sz="1000" dirty="0" smtClean="0">
                  <a:solidFill>
                    <a:srgbClr val="FFFFFF">
                      <a:lumMod val="65000"/>
                    </a:srgbClr>
                  </a:solidFill>
                </a:rPr>
                <a:t>Noticias e información  a medios de comunicación y mercados financieros</a:t>
              </a:r>
            </a:p>
            <a:p>
              <a:pPr fontAlgn="base">
                <a:spcAft>
                  <a:spcPct val="0"/>
                </a:spcAft>
              </a:pPr>
              <a:endParaRPr lang="es-AR" sz="1000" dirty="0" smtClean="0">
                <a:solidFill>
                  <a:srgbClr val="FFFFFF">
                    <a:lumMod val="65000"/>
                  </a:srgbClr>
                </a:solidFill>
              </a:endParaRPr>
            </a:p>
            <a:p>
              <a:pPr fontAlgn="base">
                <a:spcAft>
                  <a:spcPct val="0"/>
                </a:spcAft>
                <a:buNone/>
              </a:pPr>
              <a:endParaRPr lang="es-AR" sz="1000" dirty="0">
                <a:solidFill>
                  <a:srgbClr val="FFFFFF">
                    <a:lumMod val="65000"/>
                  </a:srgbClr>
                </a:solidFill>
              </a:endParaRPr>
            </a:p>
          </p:txBody>
        </p:sp>
        <p:sp>
          <p:nvSpPr>
            <p:cNvPr id="25" name="Rectangle 24"/>
            <p:cNvSpPr/>
            <p:nvPr>
              <p:custDataLst>
                <p:tags r:id="rId7"/>
              </p:custDataLst>
            </p:nvPr>
          </p:nvSpPr>
          <p:spPr bwMode="auto">
            <a:xfrm>
              <a:off x="1461196" y="2353660"/>
              <a:ext cx="1075340" cy="7296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Aft>
                  <a:spcPct val="0"/>
                </a:spcAft>
              </a:pPr>
              <a:endParaRPr lang="en-US" sz="1000" b="1" dirty="0">
                <a:solidFill>
                  <a:srgbClr val="FFFFFF"/>
                </a:solidFill>
                <a:ea typeface="ＭＳ Ｐゴシック" charset="0"/>
              </a:endParaRPr>
            </a:p>
          </p:txBody>
        </p:sp>
        <p:pic>
          <p:nvPicPr>
            <p:cNvPr id="26" name="Picture 59" descr="media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1196" y="2353661"/>
              <a:ext cx="1075340" cy="716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70" descr="http://thomsonreuters.com/content/media/images/brandguide/reuters/rtr_ahz_rgb_pos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622512" y="5042011"/>
              <a:ext cx="863119" cy="2250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70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3544" y="4793704"/>
              <a:ext cx="1100873" cy="1506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8" name="Group 74"/>
          <p:cNvGrpSpPr/>
          <p:nvPr/>
        </p:nvGrpSpPr>
        <p:grpSpPr>
          <a:xfrm>
            <a:off x="3204104" y="2180496"/>
            <a:ext cx="1385831" cy="3384376"/>
            <a:chOff x="5076056" y="1700808"/>
            <a:chExt cx="1529841" cy="3330255"/>
          </a:xfrm>
        </p:grpSpPr>
        <p:grpSp>
          <p:nvGrpSpPr>
            <p:cNvPr id="39" name="Group 9"/>
            <p:cNvGrpSpPr/>
            <p:nvPr/>
          </p:nvGrpSpPr>
          <p:grpSpPr>
            <a:xfrm>
              <a:off x="5076056" y="1700808"/>
              <a:ext cx="1529841" cy="3330255"/>
              <a:chOff x="2690155" y="2276850"/>
              <a:chExt cx="1228961" cy="3110805"/>
            </a:xfrm>
          </p:grpSpPr>
          <p:sp>
            <p:nvSpPr>
              <p:cNvPr id="41" name="TextBox 40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2690155" y="2276850"/>
                <a:ext cx="1228961" cy="3110805"/>
              </a:xfrm>
              <a:prstGeom prst="rect">
                <a:avLst/>
              </a:prstGeom>
              <a:noFill/>
              <a:ln w="19050"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lIns="91440" tIns="91440" rIns="91440" bIns="91440" rtlCol="0">
                <a:noAutofit/>
              </a:bodyPr>
              <a:lstStyle/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005A84"/>
                  </a:solidFill>
                </a:endParaRPr>
              </a:p>
              <a:p>
                <a:pPr fontAlgn="base">
                  <a:spcAft>
                    <a:spcPts val="300"/>
                  </a:spcAft>
                  <a:buNone/>
                </a:pPr>
                <a:r>
                  <a:rPr lang="es-AR" sz="1000" dirty="0" smtClean="0">
                    <a:solidFill>
                      <a:srgbClr val="005A84"/>
                    </a:solidFill>
                  </a:rPr>
                  <a:t>LEGAL</a:t>
                </a:r>
              </a:p>
              <a:p>
                <a:pPr fontAlgn="base">
                  <a:spcAft>
                    <a:spcPct val="0"/>
                  </a:spcAft>
                  <a:buNone/>
                </a:pPr>
                <a:r>
                  <a:rPr lang="es-AR" sz="1000" dirty="0" smtClean="0">
                    <a:solidFill>
                      <a:srgbClr val="FFFFFF">
                        <a:lumMod val="65000"/>
                      </a:srgbClr>
                    </a:solidFill>
                  </a:rPr>
                  <a:t>Soluciones y servicios de información para los profesionales del segmento legal</a:t>
                </a:r>
              </a:p>
              <a:p>
                <a:pPr fontAlgn="base">
                  <a:spcAft>
                    <a:spcPct val="0"/>
                  </a:spcAft>
                  <a:buNone/>
                </a:pPr>
                <a:endParaRPr lang="es-AR" sz="1000" dirty="0" smtClean="0">
                  <a:solidFill>
                    <a:srgbClr val="FFFFFF">
                      <a:lumMod val="65000"/>
                    </a:srgbClr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 smtClean="0">
                  <a:solidFill>
                    <a:srgbClr val="FFFFFF">
                      <a:lumMod val="65000"/>
                    </a:srgbClr>
                  </a:solidFill>
                </a:endParaRPr>
              </a:p>
              <a:p>
                <a:pPr fontAlgn="base">
                  <a:spcAft>
                    <a:spcPct val="0"/>
                  </a:spcAft>
                </a:pPr>
                <a:endParaRPr lang="es-AR" sz="1000" dirty="0">
                  <a:solidFill>
                    <a:srgbClr val="FFFFFF">
                      <a:lumMod val="65000"/>
                    </a:srgbClr>
                  </a:solidFill>
                </a:endParaRPr>
              </a:p>
            </p:txBody>
          </p:sp>
          <p:sp>
            <p:nvSpPr>
              <p:cNvPr id="42" name="Rectangle 41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2766967" y="2353660"/>
                <a:ext cx="1075340" cy="72969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/>
            </p:spPr>
            <p:txBody>
              <a:bodyPr vert="horz" wrap="square" lIns="45720" tIns="45720" rIns="4572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Aft>
                    <a:spcPct val="0"/>
                  </a:spcAft>
                </a:pPr>
                <a:endParaRPr lang="en-US" sz="1000" b="1" dirty="0">
                  <a:solidFill>
                    <a:srgbClr val="FFFFFF"/>
                  </a:solidFill>
                  <a:ea typeface="ＭＳ Ｐゴシック" charset="0"/>
                </a:endParaRPr>
              </a:p>
            </p:txBody>
          </p:sp>
          <p:pic>
            <p:nvPicPr>
              <p:cNvPr id="43" name="Picture 61" descr="legal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6965" y="2353660"/>
                <a:ext cx="1094541" cy="7296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78" descr="http://thomsonreuters.com/content/legal/products/inlineitems/Westlaw_Logo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7635" y="4471764"/>
                <a:ext cx="691289" cy="3456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209" descr="http://thomsonreuters.com/content/legal/images/432240"/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6966" y="4899389"/>
                <a:ext cx="644749" cy="2620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212"/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6965" y="4769932"/>
                <a:ext cx="1034692" cy="1677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40" name="Picture 11" descr="http://sistematedesco.cpfl.com.br/JSCSS/Index/images/index_title.jpg"/>
            <p:cNvPicPr>
              <a:picLocks noChangeAspect="1" noChangeArrowheads="1"/>
            </p:cNvPicPr>
            <p:nvPr/>
          </p:nvPicPr>
          <p:blipFill>
            <a:blip r:embed="rId27" cstate="print"/>
            <a:srcRect r="25668" b="-39168"/>
            <a:stretch>
              <a:fillRect/>
            </a:stretch>
          </p:blipFill>
          <p:spPr bwMode="auto">
            <a:xfrm>
              <a:off x="5436096" y="4766600"/>
              <a:ext cx="1073640" cy="172299"/>
            </a:xfrm>
            <a:prstGeom prst="rect">
              <a:avLst/>
            </a:prstGeom>
            <a:noFill/>
          </p:spPr>
        </p:pic>
      </p:grpSp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960" y="5024612"/>
            <a:ext cx="534470" cy="141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Rectangle 56"/>
          <p:cNvSpPr/>
          <p:nvPr/>
        </p:nvSpPr>
        <p:spPr>
          <a:xfrm>
            <a:off x="4992391" y="4709210"/>
            <a:ext cx="10683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200" dirty="0" err="1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World-Check</a:t>
            </a:r>
            <a:endParaRPr lang="es-CL" sz="12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236720" y="2180496"/>
            <a:ext cx="1385941" cy="3384376"/>
            <a:chOff x="736576" y="2330624"/>
            <a:chExt cx="1385941" cy="3384376"/>
          </a:xfrm>
        </p:grpSpPr>
        <p:grpSp>
          <p:nvGrpSpPr>
            <p:cNvPr id="47" name="Group 89"/>
            <p:cNvGrpSpPr/>
            <p:nvPr/>
          </p:nvGrpSpPr>
          <p:grpSpPr>
            <a:xfrm>
              <a:off x="736576" y="2330624"/>
              <a:ext cx="1385941" cy="3384376"/>
              <a:chOff x="6893934" y="1864246"/>
              <a:chExt cx="1385941" cy="3384376"/>
            </a:xfrm>
          </p:grpSpPr>
          <p:grpSp>
            <p:nvGrpSpPr>
              <p:cNvPr id="48" name="Group 35"/>
              <p:cNvGrpSpPr/>
              <p:nvPr/>
            </p:nvGrpSpPr>
            <p:grpSpPr>
              <a:xfrm>
                <a:off x="6893934" y="1864246"/>
                <a:ext cx="1385941" cy="3384376"/>
                <a:chOff x="7002477" y="1844824"/>
                <a:chExt cx="1529963" cy="3330255"/>
              </a:xfrm>
            </p:grpSpPr>
            <p:sp>
              <p:nvSpPr>
                <p:cNvPr id="53" name="TextBox 52"/>
                <p:cNvSpPr txBox="1"/>
                <p:nvPr>
                  <p:custDataLst>
                    <p:tags r:id="rId1"/>
                  </p:custDataLst>
                </p:nvPr>
              </p:nvSpPr>
              <p:spPr>
                <a:xfrm>
                  <a:off x="7002477" y="1844824"/>
                  <a:ext cx="1529963" cy="3330255"/>
                </a:xfrm>
                <a:prstGeom prst="rect">
                  <a:avLst/>
                </a:prstGeom>
                <a:noFill/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txBody>
                <a:bodyPr wrap="square" lIns="91440" tIns="91440" rIns="91440" bIns="91440" rtlCol="0">
                  <a:noAutofit/>
                </a:bodyPr>
                <a:lstStyle/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005A84"/>
                    </a:solidFill>
                  </a:endParaRPr>
                </a:p>
                <a:p>
                  <a:pPr fontAlgn="base">
                    <a:spcAft>
                      <a:spcPts val="300"/>
                    </a:spcAft>
                    <a:buNone/>
                  </a:pPr>
                  <a:r>
                    <a:rPr lang="es-AR" sz="1000" dirty="0" smtClean="0">
                      <a:solidFill>
                        <a:srgbClr val="005A84"/>
                      </a:solidFill>
                    </a:rPr>
                    <a:t>TAX &amp; ACCOUNTING</a:t>
                  </a:r>
                </a:p>
                <a:p>
                  <a:pPr fontAlgn="base">
                    <a:spcAft>
                      <a:spcPct val="0"/>
                    </a:spcAft>
                    <a:buNone/>
                  </a:pPr>
                  <a:r>
                    <a:rPr lang="es-AR" sz="1000" dirty="0" smtClean="0">
                      <a:solidFill>
                        <a:srgbClr val="FFFFFF">
                          <a:lumMod val="65000"/>
                        </a:srgbClr>
                      </a:solidFill>
                    </a:rPr>
                    <a:t>Soluciones líderes para los profesionales y empresas en  contabilidad impuestos, finanzas y Comercio Exterior</a:t>
                  </a: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FFFFFF">
                        <a:lumMod val="65000"/>
                      </a:srgbClr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FFFFFF">
                        <a:lumMod val="65000"/>
                      </a:srgbClr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</a:pPr>
                  <a:endParaRPr lang="es-AR" sz="1000" dirty="0" smtClean="0">
                    <a:solidFill>
                      <a:srgbClr val="FFFFFF">
                        <a:lumMod val="65000"/>
                      </a:srgbClr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  <a:buNone/>
                  </a:pPr>
                  <a:endParaRPr lang="es-AR" sz="1000" dirty="0" smtClean="0">
                    <a:solidFill>
                      <a:srgbClr val="FFFFFF">
                        <a:lumMod val="65000"/>
                      </a:srgbClr>
                    </a:solidFill>
                  </a:endParaRPr>
                </a:p>
                <a:p>
                  <a:pPr fontAlgn="base">
                    <a:spcAft>
                      <a:spcPct val="0"/>
                    </a:spcAft>
                    <a:buNone/>
                  </a:pPr>
                  <a:endParaRPr lang="es-AR" sz="1000" dirty="0">
                    <a:solidFill>
                      <a:srgbClr val="FFFFFF">
                        <a:lumMod val="65000"/>
                      </a:srgbClr>
                    </a:solidFill>
                  </a:endParaRPr>
                </a:p>
              </p:txBody>
            </p:sp>
            <p:pic>
              <p:nvPicPr>
                <p:cNvPr id="54" name="Picture 65" descr="tax_accounting"/>
                <p:cNvPicPr>
                  <a:picLocks noChangeAspect="1" noChangeArrowheads="1"/>
                </p:cNvPicPr>
                <p:nvPr>
                  <p:custDataLst>
                    <p:tags r:id="rId2"/>
                  </p:custDataLst>
                </p:nvPr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254068" y="1988840"/>
                  <a:ext cx="1094541" cy="72969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9" name="Group 83"/>
              <p:cNvGrpSpPr/>
              <p:nvPr/>
            </p:nvGrpSpPr>
            <p:grpSpPr>
              <a:xfrm>
                <a:off x="6995324" y="4847732"/>
                <a:ext cx="1204696" cy="376505"/>
                <a:chOff x="6097901" y="4346104"/>
                <a:chExt cx="1204696" cy="376505"/>
              </a:xfrm>
            </p:grpSpPr>
            <p:pic>
              <p:nvPicPr>
                <p:cNvPr id="51" name="Imagen 8"/>
                <p:cNvPicPr>
                  <a:picLocks noChangeAspect="1"/>
                </p:cNvPicPr>
                <p:nvPr/>
              </p:nvPicPr>
              <p:blipFill>
                <a:blip r:embed="rId3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90062" b="44062"/>
                <a:stretch>
                  <a:fillRect/>
                </a:stretch>
              </p:blipFill>
              <p:spPr>
                <a:xfrm>
                  <a:off x="6097901" y="4370953"/>
                  <a:ext cx="855712" cy="351656"/>
                </a:xfrm>
                <a:prstGeom prst="rect">
                  <a:avLst/>
                </a:prstGeom>
              </p:spPr>
            </p:pic>
            <p:pic>
              <p:nvPicPr>
                <p:cNvPr id="52" name="Imagem 6"/>
                <p:cNvPicPr>
                  <a:picLocks noChangeAspect="1"/>
                </p:cNvPicPr>
                <p:nvPr/>
              </p:nvPicPr>
              <p:blipFill>
                <a:blip r:embed="rId3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24086"/>
                <a:stretch>
                  <a:fillRect/>
                </a:stretch>
              </p:blipFill>
              <p:spPr>
                <a:xfrm>
                  <a:off x="6654525" y="4346104"/>
                  <a:ext cx="648072" cy="154828"/>
                </a:xfrm>
                <a:prstGeom prst="rect">
                  <a:avLst/>
                </a:prstGeom>
                <a:solidFill>
                  <a:schemeClr val="bg1"/>
                </a:solidFill>
              </p:spPr>
            </p:pic>
          </p:grpSp>
          <p:pic>
            <p:nvPicPr>
              <p:cNvPr id="50" name="Imagen 8"/>
              <p:cNvPicPr>
                <a:picLocks noChangeAspect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774" t="21575" r="80863" b="55516"/>
              <a:stretch>
                <a:fillRect/>
              </a:stretch>
            </p:blipFill>
            <p:spPr>
              <a:xfrm>
                <a:off x="7020271" y="4410421"/>
                <a:ext cx="830765" cy="166153"/>
              </a:xfrm>
              <a:prstGeom prst="rect">
                <a:avLst/>
              </a:prstGeom>
            </p:spPr>
          </p:pic>
        </p:grp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2933" y="5148459"/>
              <a:ext cx="1023058" cy="165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6" name="Rectangle 55"/>
          <p:cNvSpPr/>
          <p:nvPr/>
        </p:nvSpPr>
        <p:spPr>
          <a:xfrm>
            <a:off x="177421" y="5868537"/>
            <a:ext cx="8748215" cy="863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6737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5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0" i="0" dirty="0" err="1" smtClean="0">
                <a:solidFill>
                  <a:srgbClr val="FF8000"/>
                </a:solidFill>
                <a:latin typeface="Arial"/>
                <a:ea typeface="+mj-ea"/>
                <a:cs typeface="+mj-cs"/>
              </a:rPr>
              <a:t>Presencia</a:t>
            </a:r>
            <a:r>
              <a:rPr lang="en-US" b="0" i="0" dirty="0" smtClean="0">
                <a:solidFill>
                  <a:srgbClr val="FF8000"/>
                </a:solidFill>
                <a:latin typeface="Arial"/>
                <a:ea typeface="+mj-ea"/>
                <a:cs typeface="+mj-cs"/>
              </a:rPr>
              <a:t> Global</a:t>
            </a:r>
            <a:endParaRPr lang="en-US" b="0" i="0" dirty="0">
              <a:solidFill>
                <a:srgbClr val="FF8000"/>
              </a:solidFill>
              <a:latin typeface="Arial"/>
              <a:ea typeface="+mj-ea"/>
              <a:cs typeface="+mj-cs"/>
            </a:endParaRPr>
          </a:p>
        </p:txBody>
      </p:sp>
      <p:pic>
        <p:nvPicPr>
          <p:cNvPr id="14" name="Picture 39" descr="illustration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838200" y="1892354"/>
            <a:ext cx="80010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Oval 40"/>
          <p:cNvSpPr>
            <a:spLocks noChangeArrowheads="1"/>
          </p:cNvSpPr>
          <p:nvPr/>
        </p:nvSpPr>
        <p:spPr bwMode="auto">
          <a:xfrm>
            <a:off x="2634258" y="323346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26" name="Oval 41"/>
          <p:cNvSpPr>
            <a:spLocks noChangeArrowheads="1"/>
          </p:cNvSpPr>
          <p:nvPr/>
        </p:nvSpPr>
        <p:spPr bwMode="auto">
          <a:xfrm>
            <a:off x="6866731" y="409533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27" name="Oval 42"/>
          <p:cNvSpPr>
            <a:spLocks noChangeArrowheads="1"/>
          </p:cNvSpPr>
          <p:nvPr/>
        </p:nvSpPr>
        <p:spPr bwMode="auto">
          <a:xfrm>
            <a:off x="6916738" y="438906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28" name="Oval 43"/>
          <p:cNvSpPr>
            <a:spLocks noChangeArrowheads="1"/>
          </p:cNvSpPr>
          <p:nvPr/>
        </p:nvSpPr>
        <p:spPr bwMode="auto">
          <a:xfrm>
            <a:off x="7322344" y="411594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29" name="Oval 44"/>
          <p:cNvSpPr>
            <a:spLocks noChangeArrowheads="1"/>
          </p:cNvSpPr>
          <p:nvPr/>
        </p:nvSpPr>
        <p:spPr bwMode="auto">
          <a:xfrm>
            <a:off x="2705100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0" name="Oval 45"/>
          <p:cNvSpPr>
            <a:spLocks noChangeArrowheads="1"/>
          </p:cNvSpPr>
          <p:nvPr/>
        </p:nvSpPr>
        <p:spPr bwMode="auto">
          <a:xfrm>
            <a:off x="7933531" y="529344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1" name="Oval 46"/>
          <p:cNvSpPr>
            <a:spLocks noChangeArrowheads="1"/>
          </p:cNvSpPr>
          <p:nvPr/>
        </p:nvSpPr>
        <p:spPr bwMode="auto">
          <a:xfrm>
            <a:off x="7705725" y="356197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2" name="Oval 47"/>
          <p:cNvSpPr>
            <a:spLocks noChangeArrowheads="1"/>
          </p:cNvSpPr>
          <p:nvPr/>
        </p:nvSpPr>
        <p:spPr bwMode="auto">
          <a:xfrm>
            <a:off x="2607866" y="362124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3" name="Oval 48"/>
          <p:cNvSpPr>
            <a:spLocks noChangeArrowheads="1"/>
          </p:cNvSpPr>
          <p:nvPr/>
        </p:nvSpPr>
        <p:spPr bwMode="auto">
          <a:xfrm>
            <a:off x="2971800" y="325278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4" name="Oval 49"/>
          <p:cNvSpPr>
            <a:spLocks noChangeArrowheads="1"/>
          </p:cNvSpPr>
          <p:nvPr/>
        </p:nvSpPr>
        <p:spPr bwMode="auto">
          <a:xfrm>
            <a:off x="3571875" y="51079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5" name="Oval 50"/>
          <p:cNvSpPr>
            <a:spLocks noChangeArrowheads="1"/>
          </p:cNvSpPr>
          <p:nvPr/>
        </p:nvSpPr>
        <p:spPr bwMode="auto">
          <a:xfrm>
            <a:off x="7133431" y="388147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6" name="Oval 51"/>
          <p:cNvSpPr>
            <a:spLocks noChangeArrowheads="1"/>
          </p:cNvSpPr>
          <p:nvPr/>
        </p:nvSpPr>
        <p:spPr bwMode="auto">
          <a:xfrm>
            <a:off x="2877344" y="327855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7" name="Oval 52"/>
          <p:cNvSpPr>
            <a:spLocks noChangeArrowheads="1"/>
          </p:cNvSpPr>
          <p:nvPr/>
        </p:nvSpPr>
        <p:spPr bwMode="auto">
          <a:xfrm>
            <a:off x="7194550" y="341511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8" name="Oval 53"/>
          <p:cNvSpPr>
            <a:spLocks noChangeArrowheads="1"/>
          </p:cNvSpPr>
          <p:nvPr/>
        </p:nvSpPr>
        <p:spPr bwMode="auto">
          <a:xfrm>
            <a:off x="4705350" y="316776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39" name="Oval 54"/>
          <p:cNvSpPr>
            <a:spLocks noChangeArrowheads="1"/>
          </p:cNvSpPr>
          <p:nvPr/>
        </p:nvSpPr>
        <p:spPr bwMode="auto">
          <a:xfrm>
            <a:off x="4744244" y="316776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0" name="Oval 55"/>
          <p:cNvSpPr>
            <a:spLocks noChangeArrowheads="1"/>
          </p:cNvSpPr>
          <p:nvPr/>
        </p:nvSpPr>
        <p:spPr bwMode="auto">
          <a:xfrm>
            <a:off x="2396728" y="340738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1" name="Oval 56"/>
          <p:cNvSpPr>
            <a:spLocks noChangeArrowheads="1"/>
          </p:cNvSpPr>
          <p:nvPr/>
        </p:nvSpPr>
        <p:spPr bwMode="auto">
          <a:xfrm>
            <a:off x="6411119" y="397294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2" name="Oval 57"/>
          <p:cNvSpPr>
            <a:spLocks noChangeArrowheads="1"/>
          </p:cNvSpPr>
          <p:nvPr/>
        </p:nvSpPr>
        <p:spPr bwMode="auto">
          <a:xfrm>
            <a:off x="2546747" y="362124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3" name="Oval 58"/>
          <p:cNvSpPr>
            <a:spLocks noChangeArrowheads="1"/>
          </p:cNvSpPr>
          <p:nvPr/>
        </p:nvSpPr>
        <p:spPr bwMode="auto">
          <a:xfrm>
            <a:off x="6419453" y="413913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4" name="Oval 59"/>
          <p:cNvSpPr>
            <a:spLocks noChangeArrowheads="1"/>
          </p:cNvSpPr>
          <p:nvPr/>
        </p:nvSpPr>
        <p:spPr bwMode="auto">
          <a:xfrm>
            <a:off x="6363891" y="413784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5" name="Oval 60"/>
          <p:cNvSpPr>
            <a:spLocks noChangeArrowheads="1"/>
          </p:cNvSpPr>
          <p:nvPr/>
        </p:nvSpPr>
        <p:spPr bwMode="auto">
          <a:xfrm>
            <a:off x="2885678" y="359805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6" name="Oval 61"/>
          <p:cNvSpPr>
            <a:spLocks noChangeArrowheads="1"/>
          </p:cNvSpPr>
          <p:nvPr/>
        </p:nvSpPr>
        <p:spPr bwMode="auto">
          <a:xfrm>
            <a:off x="4838700" y="311365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7" name="Oval 62"/>
          <p:cNvSpPr>
            <a:spLocks noChangeArrowheads="1"/>
          </p:cNvSpPr>
          <p:nvPr/>
        </p:nvSpPr>
        <p:spPr bwMode="auto">
          <a:xfrm>
            <a:off x="4594225" y="309304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8" name="Oval 63"/>
          <p:cNvSpPr>
            <a:spLocks noChangeArrowheads="1"/>
          </p:cNvSpPr>
          <p:nvPr/>
        </p:nvSpPr>
        <p:spPr bwMode="auto">
          <a:xfrm>
            <a:off x="6266656" y="396006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49" name="Oval 64"/>
          <p:cNvSpPr>
            <a:spLocks noChangeArrowheads="1"/>
          </p:cNvSpPr>
          <p:nvPr/>
        </p:nvSpPr>
        <p:spPr bwMode="auto">
          <a:xfrm>
            <a:off x="4633119" y="334812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0" name="Oval 65"/>
          <p:cNvSpPr>
            <a:spLocks noChangeArrowheads="1"/>
          </p:cNvSpPr>
          <p:nvPr/>
        </p:nvSpPr>
        <p:spPr bwMode="auto">
          <a:xfrm>
            <a:off x="3155156" y="335842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1" name="Oval 66"/>
          <p:cNvSpPr>
            <a:spLocks noChangeArrowheads="1"/>
          </p:cNvSpPr>
          <p:nvPr/>
        </p:nvSpPr>
        <p:spPr bwMode="auto">
          <a:xfrm>
            <a:off x="5102622" y="300543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2" name="Oval 67"/>
          <p:cNvSpPr>
            <a:spLocks noChangeArrowheads="1"/>
          </p:cNvSpPr>
          <p:nvPr/>
        </p:nvSpPr>
        <p:spPr bwMode="auto">
          <a:xfrm>
            <a:off x="4810919" y="306727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3" name="Oval 68"/>
          <p:cNvSpPr>
            <a:spLocks noChangeArrowheads="1"/>
          </p:cNvSpPr>
          <p:nvPr/>
        </p:nvSpPr>
        <p:spPr bwMode="auto">
          <a:xfrm>
            <a:off x="2988469" y="339965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4" name="Oval 69"/>
          <p:cNvSpPr>
            <a:spLocks noChangeArrowheads="1"/>
          </p:cNvSpPr>
          <p:nvPr/>
        </p:nvSpPr>
        <p:spPr bwMode="auto">
          <a:xfrm>
            <a:off x="2994025" y="343057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5" name="Oval 70"/>
          <p:cNvSpPr>
            <a:spLocks noChangeArrowheads="1"/>
          </p:cNvSpPr>
          <p:nvPr/>
        </p:nvSpPr>
        <p:spPr bwMode="auto">
          <a:xfrm>
            <a:off x="4633119" y="3028626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6" name="Oval 71"/>
          <p:cNvSpPr>
            <a:spLocks noChangeArrowheads="1"/>
          </p:cNvSpPr>
          <p:nvPr/>
        </p:nvSpPr>
        <p:spPr bwMode="auto">
          <a:xfrm>
            <a:off x="4660900" y="305696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7" name="Oval 72"/>
          <p:cNvSpPr>
            <a:spLocks noChangeArrowheads="1"/>
          </p:cNvSpPr>
          <p:nvPr/>
        </p:nvSpPr>
        <p:spPr bwMode="auto">
          <a:xfrm>
            <a:off x="3094038" y="338934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8" name="Oval 73"/>
          <p:cNvSpPr>
            <a:spLocks noChangeArrowheads="1"/>
          </p:cNvSpPr>
          <p:nvPr/>
        </p:nvSpPr>
        <p:spPr bwMode="auto">
          <a:xfrm>
            <a:off x="3105150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59" name="Oval 74"/>
          <p:cNvSpPr>
            <a:spLocks noChangeArrowheads="1"/>
          </p:cNvSpPr>
          <p:nvPr/>
        </p:nvSpPr>
        <p:spPr bwMode="auto">
          <a:xfrm>
            <a:off x="2393950" y="336100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0" name="Oval 75"/>
          <p:cNvSpPr>
            <a:spLocks noChangeArrowheads="1"/>
          </p:cNvSpPr>
          <p:nvPr/>
        </p:nvSpPr>
        <p:spPr bwMode="auto">
          <a:xfrm>
            <a:off x="3202384" y="330174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1" name="Oval 76"/>
          <p:cNvSpPr>
            <a:spLocks noChangeArrowheads="1"/>
          </p:cNvSpPr>
          <p:nvPr/>
        </p:nvSpPr>
        <p:spPr bwMode="auto">
          <a:xfrm>
            <a:off x="3171825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2" name="Oval 77"/>
          <p:cNvSpPr>
            <a:spLocks noChangeArrowheads="1"/>
          </p:cNvSpPr>
          <p:nvPr/>
        </p:nvSpPr>
        <p:spPr bwMode="auto">
          <a:xfrm>
            <a:off x="4869259" y="326824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3" name="Oval 78"/>
          <p:cNvSpPr>
            <a:spLocks noChangeArrowheads="1"/>
          </p:cNvSpPr>
          <p:nvPr/>
        </p:nvSpPr>
        <p:spPr bwMode="auto">
          <a:xfrm>
            <a:off x="4580334" y="341511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4" name="Oval 79"/>
          <p:cNvSpPr>
            <a:spLocks noChangeArrowheads="1"/>
          </p:cNvSpPr>
          <p:nvPr/>
        </p:nvSpPr>
        <p:spPr bwMode="auto">
          <a:xfrm>
            <a:off x="5483225" y="289206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5" name="Oval 80"/>
          <p:cNvSpPr>
            <a:spLocks noChangeArrowheads="1"/>
          </p:cNvSpPr>
          <p:nvPr/>
        </p:nvSpPr>
        <p:spPr bwMode="auto">
          <a:xfrm>
            <a:off x="2080022" y="347695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6" name="Oval 81"/>
          <p:cNvSpPr>
            <a:spLocks noChangeArrowheads="1"/>
          </p:cNvSpPr>
          <p:nvPr/>
        </p:nvSpPr>
        <p:spPr bwMode="auto">
          <a:xfrm>
            <a:off x="4622006" y="296678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7" name="Oval 82"/>
          <p:cNvSpPr>
            <a:spLocks noChangeArrowheads="1"/>
          </p:cNvSpPr>
          <p:nvPr/>
        </p:nvSpPr>
        <p:spPr bwMode="auto">
          <a:xfrm>
            <a:off x="8475266" y="552275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8" name="Oval 83"/>
          <p:cNvSpPr>
            <a:spLocks noChangeArrowheads="1"/>
          </p:cNvSpPr>
          <p:nvPr/>
        </p:nvSpPr>
        <p:spPr bwMode="auto">
          <a:xfrm>
            <a:off x="2821781" y="328628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69" name="Oval 84"/>
          <p:cNvSpPr>
            <a:spLocks noChangeArrowheads="1"/>
          </p:cNvSpPr>
          <p:nvPr/>
        </p:nvSpPr>
        <p:spPr bwMode="auto">
          <a:xfrm>
            <a:off x="2838450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0" name="Oval 85"/>
          <p:cNvSpPr>
            <a:spLocks noChangeArrowheads="1"/>
          </p:cNvSpPr>
          <p:nvPr/>
        </p:nvSpPr>
        <p:spPr bwMode="auto">
          <a:xfrm>
            <a:off x="2810669" y="325021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1" name="Oval 86"/>
          <p:cNvSpPr>
            <a:spLocks noChangeArrowheads="1"/>
          </p:cNvSpPr>
          <p:nvPr/>
        </p:nvSpPr>
        <p:spPr bwMode="auto">
          <a:xfrm>
            <a:off x="7450138" y="350014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2" name="Oval 87"/>
          <p:cNvSpPr>
            <a:spLocks noChangeArrowheads="1"/>
          </p:cNvSpPr>
          <p:nvPr/>
        </p:nvSpPr>
        <p:spPr bwMode="auto">
          <a:xfrm>
            <a:off x="4730353" y="337388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3" name="Oval 88"/>
          <p:cNvSpPr>
            <a:spLocks noChangeArrowheads="1"/>
          </p:cNvSpPr>
          <p:nvPr/>
        </p:nvSpPr>
        <p:spPr bwMode="auto">
          <a:xfrm>
            <a:off x="2946797" y="334039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4" name="Oval 89"/>
          <p:cNvSpPr>
            <a:spLocks noChangeArrowheads="1"/>
          </p:cNvSpPr>
          <p:nvPr/>
        </p:nvSpPr>
        <p:spPr bwMode="auto">
          <a:xfrm>
            <a:off x="2999581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5" name="Oval 90"/>
          <p:cNvSpPr>
            <a:spLocks noChangeArrowheads="1"/>
          </p:cNvSpPr>
          <p:nvPr/>
        </p:nvSpPr>
        <p:spPr bwMode="auto">
          <a:xfrm>
            <a:off x="2905125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6" name="Oval 91"/>
          <p:cNvSpPr>
            <a:spLocks noChangeArrowheads="1"/>
          </p:cNvSpPr>
          <p:nvPr/>
        </p:nvSpPr>
        <p:spPr bwMode="auto">
          <a:xfrm>
            <a:off x="4883150" y="322187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7" name="Oval 92"/>
          <p:cNvSpPr>
            <a:spLocks noChangeArrowheads="1"/>
          </p:cNvSpPr>
          <p:nvPr/>
        </p:nvSpPr>
        <p:spPr bwMode="auto">
          <a:xfrm>
            <a:off x="4838700" y="325278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8" name="Oval 93"/>
          <p:cNvSpPr>
            <a:spLocks noChangeArrowheads="1"/>
          </p:cNvSpPr>
          <p:nvPr/>
        </p:nvSpPr>
        <p:spPr bwMode="auto">
          <a:xfrm>
            <a:off x="7291784" y="365988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79" name="Oval 94"/>
          <p:cNvSpPr>
            <a:spLocks noChangeArrowheads="1"/>
          </p:cNvSpPr>
          <p:nvPr/>
        </p:nvSpPr>
        <p:spPr bwMode="auto">
          <a:xfrm>
            <a:off x="5063728" y="282250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0" name="Oval 95"/>
          <p:cNvSpPr>
            <a:spLocks noChangeArrowheads="1"/>
          </p:cNvSpPr>
          <p:nvPr/>
        </p:nvSpPr>
        <p:spPr bwMode="auto">
          <a:xfrm>
            <a:off x="3049588" y="338934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1" name="Oval 96"/>
          <p:cNvSpPr>
            <a:spLocks noChangeArrowheads="1"/>
          </p:cNvSpPr>
          <p:nvPr/>
        </p:nvSpPr>
        <p:spPr bwMode="auto">
          <a:xfrm>
            <a:off x="3091259" y="334039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2" name="Oval 97"/>
          <p:cNvSpPr>
            <a:spLocks noChangeArrowheads="1"/>
          </p:cNvSpPr>
          <p:nvPr/>
        </p:nvSpPr>
        <p:spPr bwMode="auto">
          <a:xfrm>
            <a:off x="3105150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3" name="Oval 98"/>
          <p:cNvSpPr>
            <a:spLocks noChangeArrowheads="1"/>
          </p:cNvSpPr>
          <p:nvPr/>
        </p:nvSpPr>
        <p:spPr bwMode="auto">
          <a:xfrm>
            <a:off x="2418953" y="3600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4" name="Oval 99"/>
          <p:cNvSpPr>
            <a:spLocks noChangeArrowheads="1"/>
          </p:cNvSpPr>
          <p:nvPr/>
        </p:nvSpPr>
        <p:spPr bwMode="auto">
          <a:xfrm>
            <a:off x="4838700" y="3036356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5" name="Oval 100"/>
          <p:cNvSpPr>
            <a:spLocks noChangeArrowheads="1"/>
          </p:cNvSpPr>
          <p:nvPr/>
        </p:nvSpPr>
        <p:spPr bwMode="auto">
          <a:xfrm>
            <a:off x="7811294" y="5440306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6" name="Oval 101"/>
          <p:cNvSpPr>
            <a:spLocks noChangeArrowheads="1"/>
          </p:cNvSpPr>
          <p:nvPr/>
        </p:nvSpPr>
        <p:spPr bwMode="auto">
          <a:xfrm>
            <a:off x="3082925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7" name="Oval 102"/>
          <p:cNvSpPr>
            <a:spLocks noChangeArrowheads="1"/>
          </p:cNvSpPr>
          <p:nvPr/>
        </p:nvSpPr>
        <p:spPr bwMode="auto">
          <a:xfrm>
            <a:off x="7305675" y="383252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8" name="Oval 103"/>
          <p:cNvSpPr>
            <a:spLocks noChangeArrowheads="1"/>
          </p:cNvSpPr>
          <p:nvPr/>
        </p:nvSpPr>
        <p:spPr bwMode="auto">
          <a:xfrm>
            <a:off x="2259211" y="359032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89" name="Oval 104"/>
          <p:cNvSpPr>
            <a:spLocks noChangeArrowheads="1"/>
          </p:cNvSpPr>
          <p:nvPr/>
        </p:nvSpPr>
        <p:spPr bwMode="auto">
          <a:xfrm>
            <a:off x="2638425" y="369724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0" name="Oval 105"/>
          <p:cNvSpPr>
            <a:spLocks noChangeArrowheads="1"/>
          </p:cNvSpPr>
          <p:nvPr/>
        </p:nvSpPr>
        <p:spPr bwMode="auto">
          <a:xfrm>
            <a:off x="1948061" y="309819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1" name="Oval 106"/>
          <p:cNvSpPr>
            <a:spLocks noChangeArrowheads="1"/>
          </p:cNvSpPr>
          <p:nvPr/>
        </p:nvSpPr>
        <p:spPr bwMode="auto">
          <a:xfrm>
            <a:off x="5017889" y="292169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2" name="Oval 107"/>
          <p:cNvSpPr>
            <a:spLocks noChangeArrowheads="1"/>
          </p:cNvSpPr>
          <p:nvPr/>
        </p:nvSpPr>
        <p:spPr bwMode="auto">
          <a:xfrm>
            <a:off x="3130153" y="320898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3" name="Oval 108"/>
          <p:cNvSpPr>
            <a:spLocks noChangeArrowheads="1"/>
          </p:cNvSpPr>
          <p:nvPr/>
        </p:nvSpPr>
        <p:spPr bwMode="auto">
          <a:xfrm>
            <a:off x="2528689" y="397938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4" name="Oval 109"/>
          <p:cNvSpPr>
            <a:spLocks noChangeArrowheads="1"/>
          </p:cNvSpPr>
          <p:nvPr/>
        </p:nvSpPr>
        <p:spPr bwMode="auto">
          <a:xfrm>
            <a:off x="3305175" y="547895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5" name="Oval 110"/>
          <p:cNvSpPr>
            <a:spLocks noChangeArrowheads="1"/>
          </p:cNvSpPr>
          <p:nvPr/>
        </p:nvSpPr>
        <p:spPr bwMode="auto">
          <a:xfrm>
            <a:off x="2971800" y="331462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6" name="Oval 111"/>
          <p:cNvSpPr>
            <a:spLocks noChangeArrowheads="1"/>
          </p:cNvSpPr>
          <p:nvPr/>
        </p:nvSpPr>
        <p:spPr bwMode="auto">
          <a:xfrm>
            <a:off x="5305425" y="51697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7" name="Oval 112"/>
          <p:cNvSpPr>
            <a:spLocks noChangeArrowheads="1"/>
          </p:cNvSpPr>
          <p:nvPr/>
        </p:nvSpPr>
        <p:spPr bwMode="auto">
          <a:xfrm>
            <a:off x="4852591" y="316776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8" name="Oval 113"/>
          <p:cNvSpPr>
            <a:spLocks noChangeArrowheads="1"/>
          </p:cNvSpPr>
          <p:nvPr/>
        </p:nvSpPr>
        <p:spPr bwMode="auto">
          <a:xfrm>
            <a:off x="4960938" y="316776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99" name="Oval 114"/>
          <p:cNvSpPr>
            <a:spLocks noChangeArrowheads="1"/>
          </p:cNvSpPr>
          <p:nvPr/>
        </p:nvSpPr>
        <p:spPr bwMode="auto">
          <a:xfrm>
            <a:off x="2975967" y="354265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0" name="Oval 115"/>
          <p:cNvSpPr>
            <a:spLocks noChangeArrowheads="1"/>
          </p:cNvSpPr>
          <p:nvPr/>
        </p:nvSpPr>
        <p:spPr bwMode="auto">
          <a:xfrm>
            <a:off x="5905500" y="380933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1" name="Oval 116"/>
          <p:cNvSpPr>
            <a:spLocks noChangeArrowheads="1"/>
          </p:cNvSpPr>
          <p:nvPr/>
        </p:nvSpPr>
        <p:spPr bwMode="auto">
          <a:xfrm>
            <a:off x="3071813" y="335327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2" name="Oval 117"/>
          <p:cNvSpPr>
            <a:spLocks noChangeArrowheads="1"/>
          </p:cNvSpPr>
          <p:nvPr/>
        </p:nvSpPr>
        <p:spPr bwMode="auto">
          <a:xfrm>
            <a:off x="2925961" y="343830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3" name="Oval 118"/>
          <p:cNvSpPr>
            <a:spLocks noChangeArrowheads="1"/>
          </p:cNvSpPr>
          <p:nvPr/>
        </p:nvSpPr>
        <p:spPr bwMode="auto">
          <a:xfrm>
            <a:off x="4980384" y="307500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4" name="Oval 119"/>
          <p:cNvSpPr>
            <a:spLocks noChangeArrowheads="1"/>
          </p:cNvSpPr>
          <p:nvPr/>
        </p:nvSpPr>
        <p:spPr bwMode="auto">
          <a:xfrm>
            <a:off x="5109567" y="308659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5" name="Oval 120"/>
          <p:cNvSpPr>
            <a:spLocks noChangeArrowheads="1"/>
          </p:cNvSpPr>
          <p:nvPr/>
        </p:nvSpPr>
        <p:spPr bwMode="auto">
          <a:xfrm>
            <a:off x="2788444" y="331076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6" name="Oval 121"/>
          <p:cNvSpPr>
            <a:spLocks noChangeArrowheads="1"/>
          </p:cNvSpPr>
          <p:nvPr/>
        </p:nvSpPr>
        <p:spPr bwMode="auto">
          <a:xfrm>
            <a:off x="2942630" y="352333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7" name="Oval 122"/>
          <p:cNvSpPr>
            <a:spLocks noChangeArrowheads="1"/>
          </p:cNvSpPr>
          <p:nvPr/>
        </p:nvSpPr>
        <p:spPr bwMode="auto">
          <a:xfrm>
            <a:off x="4572000" y="306727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8" name="Oval 123"/>
          <p:cNvSpPr>
            <a:spLocks noChangeArrowheads="1"/>
          </p:cNvSpPr>
          <p:nvPr/>
        </p:nvSpPr>
        <p:spPr bwMode="auto">
          <a:xfrm>
            <a:off x="5305425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09" name="Oval 124"/>
          <p:cNvSpPr>
            <a:spLocks noChangeArrowheads="1"/>
          </p:cNvSpPr>
          <p:nvPr/>
        </p:nvSpPr>
        <p:spPr bwMode="auto">
          <a:xfrm>
            <a:off x="4609505" y="303249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0" name="Oval 125"/>
          <p:cNvSpPr>
            <a:spLocks noChangeArrowheads="1"/>
          </p:cNvSpPr>
          <p:nvPr/>
        </p:nvSpPr>
        <p:spPr bwMode="auto">
          <a:xfrm>
            <a:off x="4772025" y="306727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1" name="Oval 126"/>
          <p:cNvSpPr>
            <a:spLocks noChangeArrowheads="1"/>
          </p:cNvSpPr>
          <p:nvPr/>
        </p:nvSpPr>
        <p:spPr bwMode="auto">
          <a:xfrm>
            <a:off x="3000970" y="340738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2" name="Oval 127"/>
          <p:cNvSpPr>
            <a:spLocks noChangeArrowheads="1"/>
          </p:cNvSpPr>
          <p:nvPr/>
        </p:nvSpPr>
        <p:spPr bwMode="auto">
          <a:xfrm>
            <a:off x="2267545" y="3337816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3" name="Oval 128"/>
          <p:cNvSpPr>
            <a:spLocks noChangeArrowheads="1"/>
          </p:cNvSpPr>
          <p:nvPr/>
        </p:nvSpPr>
        <p:spPr bwMode="auto">
          <a:xfrm>
            <a:off x="2059186" y="344603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4" name="Oval 129"/>
          <p:cNvSpPr>
            <a:spLocks noChangeArrowheads="1"/>
          </p:cNvSpPr>
          <p:nvPr/>
        </p:nvSpPr>
        <p:spPr bwMode="auto">
          <a:xfrm>
            <a:off x="2038350" y="343830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5" name="Oval 130"/>
          <p:cNvSpPr>
            <a:spLocks noChangeArrowheads="1"/>
          </p:cNvSpPr>
          <p:nvPr/>
        </p:nvSpPr>
        <p:spPr bwMode="auto">
          <a:xfrm>
            <a:off x="2080022" y="354265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6" name="Oval 131"/>
          <p:cNvSpPr>
            <a:spLocks noChangeArrowheads="1"/>
          </p:cNvSpPr>
          <p:nvPr/>
        </p:nvSpPr>
        <p:spPr bwMode="auto">
          <a:xfrm>
            <a:off x="2105025" y="356197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7" name="Oval 132"/>
          <p:cNvSpPr>
            <a:spLocks noChangeArrowheads="1"/>
          </p:cNvSpPr>
          <p:nvPr/>
        </p:nvSpPr>
        <p:spPr bwMode="auto">
          <a:xfrm>
            <a:off x="3132931" y="335069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8" name="Oval 133"/>
          <p:cNvSpPr>
            <a:spLocks noChangeArrowheads="1"/>
          </p:cNvSpPr>
          <p:nvPr/>
        </p:nvSpPr>
        <p:spPr bwMode="auto">
          <a:xfrm>
            <a:off x="3038475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19" name="Oval 134"/>
          <p:cNvSpPr>
            <a:spLocks noChangeArrowheads="1"/>
          </p:cNvSpPr>
          <p:nvPr/>
        </p:nvSpPr>
        <p:spPr bwMode="auto">
          <a:xfrm>
            <a:off x="3035697" y="340996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0" name="Oval 135"/>
          <p:cNvSpPr>
            <a:spLocks noChangeArrowheads="1"/>
          </p:cNvSpPr>
          <p:nvPr/>
        </p:nvSpPr>
        <p:spPr bwMode="auto">
          <a:xfrm>
            <a:off x="5305425" y="368565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1" name="Oval 136"/>
          <p:cNvSpPr>
            <a:spLocks noChangeArrowheads="1"/>
          </p:cNvSpPr>
          <p:nvPr/>
        </p:nvSpPr>
        <p:spPr bwMode="auto">
          <a:xfrm>
            <a:off x="4803973" y="314457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2" name="Oval 137"/>
          <p:cNvSpPr>
            <a:spLocks noChangeArrowheads="1"/>
          </p:cNvSpPr>
          <p:nvPr/>
        </p:nvSpPr>
        <p:spPr bwMode="auto">
          <a:xfrm>
            <a:off x="4972050" y="33764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3" name="Oval 138"/>
          <p:cNvSpPr>
            <a:spLocks noChangeArrowheads="1"/>
          </p:cNvSpPr>
          <p:nvPr/>
        </p:nvSpPr>
        <p:spPr bwMode="auto">
          <a:xfrm>
            <a:off x="2771775" y="356197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4" name="Oval 139"/>
          <p:cNvSpPr>
            <a:spLocks noChangeArrowheads="1"/>
          </p:cNvSpPr>
          <p:nvPr/>
        </p:nvSpPr>
        <p:spPr bwMode="auto">
          <a:xfrm>
            <a:off x="5177631" y="347051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5" name="Oval 140"/>
          <p:cNvSpPr>
            <a:spLocks noChangeArrowheads="1"/>
          </p:cNvSpPr>
          <p:nvPr/>
        </p:nvSpPr>
        <p:spPr bwMode="auto">
          <a:xfrm>
            <a:off x="6372225" y="380933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6" name="Oval 141"/>
          <p:cNvSpPr>
            <a:spLocks noChangeArrowheads="1"/>
          </p:cNvSpPr>
          <p:nvPr/>
        </p:nvSpPr>
        <p:spPr bwMode="auto">
          <a:xfrm>
            <a:off x="4485878" y="3420267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7" name="Oval 142"/>
          <p:cNvSpPr>
            <a:spLocks noChangeArrowheads="1"/>
          </p:cNvSpPr>
          <p:nvPr/>
        </p:nvSpPr>
        <p:spPr bwMode="auto">
          <a:xfrm>
            <a:off x="4931767" y="286630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8" name="Oval 143"/>
          <p:cNvSpPr>
            <a:spLocks noChangeArrowheads="1"/>
          </p:cNvSpPr>
          <p:nvPr/>
        </p:nvSpPr>
        <p:spPr bwMode="auto">
          <a:xfrm>
            <a:off x="5038725" y="314328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29" name="Oval 144"/>
          <p:cNvSpPr>
            <a:spLocks noChangeArrowheads="1"/>
          </p:cNvSpPr>
          <p:nvPr/>
        </p:nvSpPr>
        <p:spPr bwMode="auto">
          <a:xfrm>
            <a:off x="5427663" y="354394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0" name="Oval 145"/>
          <p:cNvSpPr>
            <a:spLocks noChangeArrowheads="1"/>
          </p:cNvSpPr>
          <p:nvPr/>
        </p:nvSpPr>
        <p:spPr bwMode="auto">
          <a:xfrm>
            <a:off x="6997303" y="461193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1" name="Oval 146"/>
          <p:cNvSpPr>
            <a:spLocks noChangeArrowheads="1"/>
          </p:cNvSpPr>
          <p:nvPr/>
        </p:nvSpPr>
        <p:spPr bwMode="auto">
          <a:xfrm>
            <a:off x="3092648" y="550987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2" name="Oval 147"/>
          <p:cNvSpPr>
            <a:spLocks noChangeArrowheads="1"/>
          </p:cNvSpPr>
          <p:nvPr/>
        </p:nvSpPr>
        <p:spPr bwMode="auto">
          <a:xfrm>
            <a:off x="4923433" y="279029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3" name="Oval 148"/>
          <p:cNvSpPr>
            <a:spLocks noChangeArrowheads="1"/>
          </p:cNvSpPr>
          <p:nvPr/>
        </p:nvSpPr>
        <p:spPr bwMode="auto">
          <a:xfrm>
            <a:off x="6962577" y="391625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4" name="Oval 149"/>
          <p:cNvSpPr>
            <a:spLocks noChangeArrowheads="1"/>
          </p:cNvSpPr>
          <p:nvPr/>
        </p:nvSpPr>
        <p:spPr bwMode="auto">
          <a:xfrm>
            <a:off x="5479058" y="447151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5" name="Oval 150"/>
          <p:cNvSpPr>
            <a:spLocks noChangeArrowheads="1"/>
          </p:cNvSpPr>
          <p:nvPr/>
        </p:nvSpPr>
        <p:spPr bwMode="auto">
          <a:xfrm>
            <a:off x="5266531" y="328628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6" name="Oval 151"/>
          <p:cNvSpPr>
            <a:spLocks noChangeArrowheads="1"/>
          </p:cNvSpPr>
          <p:nvPr/>
        </p:nvSpPr>
        <p:spPr bwMode="auto">
          <a:xfrm>
            <a:off x="3392686" y="533981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7" name="Oval 152"/>
          <p:cNvSpPr>
            <a:spLocks noChangeArrowheads="1"/>
          </p:cNvSpPr>
          <p:nvPr/>
        </p:nvSpPr>
        <p:spPr bwMode="auto">
          <a:xfrm>
            <a:off x="5701308" y="381706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8" name="Oval 153"/>
          <p:cNvSpPr>
            <a:spLocks noChangeArrowheads="1"/>
          </p:cNvSpPr>
          <p:nvPr/>
        </p:nvSpPr>
        <p:spPr bwMode="auto">
          <a:xfrm>
            <a:off x="5476280" y="357743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39" name="Oval 154"/>
          <p:cNvSpPr>
            <a:spLocks noChangeArrowheads="1"/>
          </p:cNvSpPr>
          <p:nvPr/>
        </p:nvSpPr>
        <p:spPr bwMode="auto">
          <a:xfrm>
            <a:off x="5454055" y="361866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0" name="Oval 155"/>
          <p:cNvSpPr>
            <a:spLocks noChangeArrowheads="1"/>
          </p:cNvSpPr>
          <p:nvPr/>
        </p:nvSpPr>
        <p:spPr bwMode="auto">
          <a:xfrm>
            <a:off x="8461375" y="541454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1" name="Oval 156"/>
          <p:cNvSpPr>
            <a:spLocks noChangeArrowheads="1"/>
          </p:cNvSpPr>
          <p:nvPr/>
        </p:nvSpPr>
        <p:spPr bwMode="auto">
          <a:xfrm>
            <a:off x="5772150" y="3783565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2" name="Oval 157"/>
          <p:cNvSpPr>
            <a:spLocks noChangeArrowheads="1"/>
          </p:cNvSpPr>
          <p:nvPr/>
        </p:nvSpPr>
        <p:spPr bwMode="auto">
          <a:xfrm>
            <a:off x="6154142" y="3840249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3" name="Oval 158"/>
          <p:cNvSpPr>
            <a:spLocks noChangeArrowheads="1"/>
          </p:cNvSpPr>
          <p:nvPr/>
        </p:nvSpPr>
        <p:spPr bwMode="auto">
          <a:xfrm>
            <a:off x="3302397" y="5256081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4" name="Oval 159"/>
          <p:cNvSpPr>
            <a:spLocks noChangeArrowheads="1"/>
          </p:cNvSpPr>
          <p:nvPr/>
        </p:nvSpPr>
        <p:spPr bwMode="auto">
          <a:xfrm>
            <a:off x="3434358" y="5077008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5" name="Oval 160"/>
          <p:cNvSpPr>
            <a:spLocks noChangeArrowheads="1"/>
          </p:cNvSpPr>
          <p:nvPr/>
        </p:nvSpPr>
        <p:spPr bwMode="auto">
          <a:xfrm>
            <a:off x="5383213" y="3438303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6" name="Oval 161"/>
          <p:cNvSpPr>
            <a:spLocks noChangeArrowheads="1"/>
          </p:cNvSpPr>
          <p:nvPr/>
        </p:nvSpPr>
        <p:spPr bwMode="auto">
          <a:xfrm>
            <a:off x="5306814" y="3001572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7" name="Oval 162"/>
          <p:cNvSpPr>
            <a:spLocks noChangeArrowheads="1"/>
          </p:cNvSpPr>
          <p:nvPr/>
        </p:nvSpPr>
        <p:spPr bwMode="auto">
          <a:xfrm>
            <a:off x="5712420" y="368179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148" name="Oval 163"/>
          <p:cNvSpPr>
            <a:spLocks noChangeArrowheads="1"/>
          </p:cNvSpPr>
          <p:nvPr/>
        </p:nvSpPr>
        <p:spPr bwMode="auto">
          <a:xfrm>
            <a:off x="4524772" y="359547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graphicFrame>
        <p:nvGraphicFramePr>
          <p:cNvPr id="149" name="Group 18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8651869"/>
              </p:ext>
            </p:extLst>
          </p:nvPr>
        </p:nvGraphicFramePr>
        <p:xfrm>
          <a:off x="1087773" y="4157169"/>
          <a:ext cx="1717339" cy="118755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150397"/>
                <a:gridCol w="566942"/>
              </a:tblGrid>
              <a:tr h="301729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Regi</a:t>
                      </a:r>
                      <a:r>
                        <a:rPr lang="pt-BR" sz="1000" b="1" i="0" u="none" dirty="0" err="1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ón</a:t>
                      </a:r>
                      <a:endParaRPr lang="pt-BR" sz="1000" b="1" i="0" u="none" dirty="0">
                        <a:solidFill>
                          <a:srgbClr val="FFFFF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T="45732" marB="45732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AR" sz="1000" b="1" i="0" u="none" strike="noStrike" cap="none" baseline="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T="45732" marB="45732" anchor="ctr" horzOverflow="overflow"/>
                </a:tc>
              </a:tr>
              <a:tr h="244475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América</a:t>
                      </a:r>
                    </a:p>
                  </a:txBody>
                  <a:tcPr marT="45732" marB="45732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T="45732" marB="45732" anchor="ctr" horzOverflow="overflow"/>
                </a:tc>
              </a:tr>
              <a:tr h="244475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BR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A</a:t>
                      </a: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sia</a:t>
                      </a:r>
                    </a:p>
                  </a:txBody>
                  <a:tcPr marT="45732" marB="45732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31%</a:t>
                      </a:r>
                    </a:p>
                  </a:txBody>
                  <a:tcPr marT="45732" marB="45732" anchor="ctr" horzOverflow="overflow"/>
                </a:tc>
              </a:tr>
              <a:tr h="396875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Europa, </a:t>
                      </a:r>
                      <a:r>
                        <a:rPr lang="pt-BR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Oriente</a:t>
                      </a:r>
                      <a:r>
                        <a:rPr lang="pt-BR" sz="1000" b="1" i="0" u="none" baseline="0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 Medio y</a:t>
                      </a: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 África</a:t>
                      </a:r>
                    </a:p>
                  </a:txBody>
                  <a:tcPr marT="45732" marB="45732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x-none" sz="1000" b="1" i="0" u="none">
                          <a:solidFill>
                            <a:srgbClr val="4B4B4B"/>
                          </a:solidFill>
                          <a:latin typeface="Arial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T="45732" marB="45732" anchor="ctr" horzOverflow="overflow"/>
                </a:tc>
              </a:tr>
            </a:tbl>
          </a:graphicData>
        </a:graphic>
      </p:graphicFrame>
      <p:sp>
        <p:nvSpPr>
          <p:cNvPr id="151" name="Rectangle 137"/>
          <p:cNvSpPr/>
          <p:nvPr/>
        </p:nvSpPr>
        <p:spPr>
          <a:xfrm>
            <a:off x="4343400" y="5791200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buNone/>
            </a:pPr>
            <a:r>
              <a:rPr lang="en-US" sz="900" b="0" i="0" dirty="0" err="1">
                <a:latin typeface="Arial"/>
                <a:ea typeface="+mn-ea"/>
                <a:cs typeface="+mn-cs"/>
                <a:hlinkClick r:id="rId4"/>
              </a:rPr>
              <a:t>Fuente</a:t>
            </a:r>
            <a:r>
              <a:rPr lang="en-US" sz="900" b="0" i="0" dirty="0">
                <a:latin typeface="Arial"/>
                <a:ea typeface="+mn-ea"/>
                <a:cs typeface="+mn-cs"/>
                <a:hlinkClick r:id="rId4"/>
              </a:rPr>
              <a:t>:</a:t>
            </a:r>
            <a:r>
              <a:rPr lang="en-US" sz="900" b="0" i="0" dirty="0">
                <a:latin typeface="Arial"/>
                <a:ea typeface="+mn-ea"/>
                <a:cs typeface="+mn-cs"/>
              </a:rPr>
              <a:t> Thomson Reuters IR Fact Book </a:t>
            </a:r>
            <a:r>
              <a:rPr lang="en-US" sz="900" b="0" i="0" dirty="0" smtClean="0">
                <a:latin typeface="Arial"/>
                <a:ea typeface="+mn-ea"/>
                <a:cs typeface="+mn-cs"/>
              </a:rPr>
              <a:t>2015</a:t>
            </a:r>
            <a:endParaRPr lang="en-US" sz="900" b="0" i="0" dirty="0">
              <a:latin typeface="Arial"/>
              <a:ea typeface="+mn-ea"/>
              <a:cs typeface="+mn-cs"/>
            </a:endParaRPr>
          </a:p>
        </p:txBody>
      </p:sp>
      <p:pic>
        <p:nvPicPr>
          <p:cNvPr id="15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91994" y="1294677"/>
            <a:ext cx="2085975" cy="1571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7" name="Oval 159"/>
          <p:cNvSpPr>
            <a:spLocks noChangeArrowheads="1"/>
          </p:cNvSpPr>
          <p:nvPr/>
        </p:nvSpPr>
        <p:spPr bwMode="auto">
          <a:xfrm>
            <a:off x="3085718" y="4803524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sp>
        <p:nvSpPr>
          <p:cNvPr id="278" name="Oval 159"/>
          <p:cNvSpPr>
            <a:spLocks noChangeArrowheads="1"/>
          </p:cNvSpPr>
          <p:nvPr/>
        </p:nvSpPr>
        <p:spPr bwMode="auto">
          <a:xfrm>
            <a:off x="3112858" y="4404780"/>
            <a:ext cx="66675" cy="61838"/>
          </a:xfrm>
          <a:prstGeom prst="ellipse">
            <a:avLst/>
          </a:prstGeom>
          <a:solidFill>
            <a:srgbClr val="FF8000"/>
          </a:solidFill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AR" dirty="0">
              <a:latin typeface="+mj-lt"/>
            </a:endParaRPr>
          </a:p>
        </p:txBody>
      </p:sp>
      <p:pic>
        <p:nvPicPr>
          <p:cNvPr id="150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87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5029200"/>
            <a:ext cx="960494" cy="1203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6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0291801"/>
              </p:ext>
            </p:extLst>
          </p:nvPr>
        </p:nvGraphicFramePr>
        <p:xfrm>
          <a:off x="2667000" y="4419600"/>
          <a:ext cx="3581400" cy="22941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AR" dirty="0" smtClean="0"/>
              <a:t>NUESTRA SOLUCION</a:t>
            </a:r>
            <a:endParaRPr lang="es-AR" sz="2000" dirty="0" smtClean="0"/>
          </a:p>
        </p:txBody>
      </p:sp>
      <p:pic>
        <p:nvPicPr>
          <p:cNvPr id="7" name="Picture 13" descr="Description: Routes 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856" y="1371600"/>
            <a:ext cx="10186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 cstate="print"/>
          <a:srcRect l="7467" t="35063" r="10032" b="38359"/>
          <a:stretch>
            <a:fillRect/>
          </a:stretch>
        </p:blipFill>
        <p:spPr bwMode="auto">
          <a:xfrm>
            <a:off x="682483" y="1433407"/>
            <a:ext cx="5565917" cy="928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609600" y="3352800"/>
            <a:ext cx="152512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AR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+15 años de experiencia en soluciones de </a:t>
            </a:r>
            <a:r>
              <a:rPr lang="es-AR" sz="1200" b="1" dirty="0" smtClean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Gestión </a:t>
            </a:r>
            <a:r>
              <a:rPr lang="es-AR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de Comercio de Internacional</a:t>
            </a:r>
            <a:endParaRPr lang="es-CL" sz="1200" dirty="0"/>
          </a:p>
          <a:p>
            <a:endParaRPr lang="es-CL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2057400" y="3352800"/>
            <a:ext cx="16388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AR" sz="1200" b="1" dirty="0" smtClean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+1200 Clientes </a:t>
            </a:r>
            <a:r>
              <a:rPr lang="es-AR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alrededor del mundo.</a:t>
            </a:r>
            <a:endParaRPr lang="es-CL" sz="1200" dirty="0"/>
          </a:p>
          <a:p>
            <a:pPr lvl="0"/>
            <a:r>
              <a:rPr lang="es-AR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+350 importantes grupos económicos</a:t>
            </a:r>
            <a:endParaRPr lang="es-CL" sz="1200" dirty="0"/>
          </a:p>
          <a:p>
            <a:endParaRPr lang="es-CL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3657600" y="3371671"/>
            <a:ext cx="167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Atendemo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múltipl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Industria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y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Mercado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. </a:t>
            </a:r>
            <a:endParaRPr lang="es-CL" sz="1200" b="1" dirty="0">
              <a:solidFill>
                <a:srgbClr val="FF8000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57799" y="3383340"/>
            <a:ext cx="152400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Implementado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en 17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país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de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latinoamerica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 y el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mundo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. Gran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experiencia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en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Regimen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Especial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.</a:t>
            </a:r>
            <a:endParaRPr lang="es-CL" sz="1200" b="1" dirty="0">
              <a:solidFill>
                <a:srgbClr val="FF8000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  <a:p>
            <a:endParaRPr lang="es-CL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6924136" y="3371671"/>
            <a:ext cx="1610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Integracion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nativa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certificada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por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principales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 ERPs world class del </a:t>
            </a:r>
            <a:r>
              <a:rPr lang="en-US" sz="1200" b="1" dirty="0" err="1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mercado</a:t>
            </a:r>
            <a:r>
              <a:rPr lang="en-US" sz="1200" b="1" dirty="0">
                <a:solidFill>
                  <a:srgbClr val="FF8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. </a:t>
            </a:r>
            <a:endParaRPr lang="es-CL" sz="1200" b="1" dirty="0">
              <a:solidFill>
                <a:srgbClr val="FF8000">
                  <a:hueOff val="0"/>
                  <a:satOff val="0"/>
                  <a:lumOff val="0"/>
                  <a:alphaOff val="0"/>
                </a:srgbClr>
              </a:solidFill>
              <a:latin typeface="Arial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57200" y="2514600"/>
            <a:ext cx="1746660" cy="698664"/>
            <a:chOff x="1962" y="1682667"/>
            <a:chExt cx="1746660" cy="698664"/>
          </a:xfrm>
        </p:grpSpPr>
        <p:sp>
          <p:nvSpPr>
            <p:cNvPr id="28" name="Chevron 27"/>
            <p:cNvSpPr/>
            <p:nvPr/>
          </p:nvSpPr>
          <p:spPr>
            <a:xfrm>
              <a:off x="1962" y="1682667"/>
              <a:ext cx="1746660" cy="698664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Chevron 4"/>
            <p:cNvSpPr/>
            <p:nvPr/>
          </p:nvSpPr>
          <p:spPr>
            <a:xfrm>
              <a:off x="351294" y="1682667"/>
              <a:ext cx="1047996" cy="698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006" tIns="14669" rIns="14669" bIns="1466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100" b="1" kern="1200" dirty="0" smtClean="0">
                  <a:solidFill>
                    <a:schemeClr val="bg1"/>
                  </a:solidFill>
                  <a:latin typeface="Arial"/>
                  <a:ea typeface="+mn-ea"/>
                  <a:cs typeface="+mn-cs"/>
                </a:rPr>
                <a:t>Experiencia</a:t>
              </a:r>
              <a:endParaRPr lang="es-CL" sz="11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063340" y="2514600"/>
            <a:ext cx="1746660" cy="698664"/>
            <a:chOff x="1573956" y="1682667"/>
            <a:chExt cx="1746660" cy="698664"/>
          </a:xfrm>
        </p:grpSpPr>
        <p:sp>
          <p:nvSpPr>
            <p:cNvPr id="31" name="Chevron 30"/>
            <p:cNvSpPr/>
            <p:nvPr/>
          </p:nvSpPr>
          <p:spPr>
            <a:xfrm>
              <a:off x="1573956" y="1682667"/>
              <a:ext cx="1746660" cy="698664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Chevron 4"/>
            <p:cNvSpPr/>
            <p:nvPr/>
          </p:nvSpPr>
          <p:spPr>
            <a:xfrm>
              <a:off x="1923288" y="1682667"/>
              <a:ext cx="1047996" cy="698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006" tIns="14669" rIns="14669" bIns="1466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smtClean="0">
                  <a:solidFill>
                    <a:schemeClr val="bg1"/>
                  </a:solidFill>
                  <a:latin typeface="Arial"/>
                  <a:ea typeface="+mn-ea"/>
                  <a:cs typeface="+mn-cs"/>
                </a:rPr>
                <a:t>Clientes</a:t>
              </a:r>
              <a:endParaRPr lang="es-CL" sz="11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63540" y="2514600"/>
            <a:ext cx="1746660" cy="698664"/>
            <a:chOff x="3145951" y="1682667"/>
            <a:chExt cx="1746660" cy="698664"/>
          </a:xfrm>
        </p:grpSpPr>
        <p:sp>
          <p:nvSpPr>
            <p:cNvPr id="37" name="Chevron 36"/>
            <p:cNvSpPr/>
            <p:nvPr/>
          </p:nvSpPr>
          <p:spPr>
            <a:xfrm>
              <a:off x="3145951" y="1682667"/>
              <a:ext cx="1746660" cy="698664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Chevron 4"/>
            <p:cNvSpPr/>
            <p:nvPr/>
          </p:nvSpPr>
          <p:spPr>
            <a:xfrm>
              <a:off x="3495283" y="1682667"/>
              <a:ext cx="1047996" cy="698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006" tIns="14669" rIns="14669" bIns="1466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 err="1" smtClean="0">
                  <a:solidFill>
                    <a:schemeClr val="bg1"/>
                  </a:solidFill>
                  <a:latin typeface="Arial"/>
                  <a:ea typeface="+mn-ea"/>
                  <a:cs typeface="+mn-cs"/>
                </a:rPr>
                <a:t>Regiones</a:t>
              </a:r>
              <a:endParaRPr lang="es-CL" sz="11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263740" y="2514600"/>
            <a:ext cx="1746660" cy="698664"/>
            <a:chOff x="4717945" y="1682667"/>
            <a:chExt cx="1746660" cy="698664"/>
          </a:xfrm>
        </p:grpSpPr>
        <p:sp>
          <p:nvSpPr>
            <p:cNvPr id="35" name="Chevron 34"/>
            <p:cNvSpPr/>
            <p:nvPr/>
          </p:nvSpPr>
          <p:spPr>
            <a:xfrm>
              <a:off x="4717945" y="1682667"/>
              <a:ext cx="1746660" cy="698664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Chevron 6"/>
            <p:cNvSpPr/>
            <p:nvPr/>
          </p:nvSpPr>
          <p:spPr>
            <a:xfrm>
              <a:off x="5067277" y="1682667"/>
              <a:ext cx="1047996" cy="698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006" tIns="14669" rIns="14669" bIns="1466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100" b="1" kern="1200" dirty="0" smtClean="0">
                  <a:solidFill>
                    <a:schemeClr val="bg1"/>
                  </a:solidFill>
                </a:rPr>
                <a:t>Respaldo</a:t>
              </a:r>
              <a:endParaRPr lang="es-CL" sz="11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6781800" y="2514600"/>
            <a:ext cx="1746660" cy="698664"/>
            <a:chOff x="6289940" y="1682667"/>
            <a:chExt cx="1746660" cy="698664"/>
          </a:xfrm>
        </p:grpSpPr>
        <p:sp>
          <p:nvSpPr>
            <p:cNvPr id="40" name="Chevron 39"/>
            <p:cNvSpPr/>
            <p:nvPr/>
          </p:nvSpPr>
          <p:spPr>
            <a:xfrm>
              <a:off x="6289940" y="1682667"/>
              <a:ext cx="1746660" cy="698664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Chevron 4"/>
            <p:cNvSpPr/>
            <p:nvPr/>
          </p:nvSpPr>
          <p:spPr>
            <a:xfrm>
              <a:off x="6639272" y="1682667"/>
              <a:ext cx="1047996" cy="6986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006" tIns="14669" rIns="14669" bIns="1466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100" b="1" kern="1200" dirty="0" smtClean="0">
                  <a:solidFill>
                    <a:schemeClr val="bg1"/>
                  </a:solidFill>
                </a:rPr>
                <a:t>Certificado</a:t>
              </a:r>
              <a:endParaRPr lang="es-CL" sz="1100" b="1" kern="1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42" name="Picture 10" descr="http://www.bslion.in/images/oracle-logo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611" y="4498064"/>
            <a:ext cx="512059" cy="31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7844" y="4529912"/>
            <a:ext cx="528474" cy="267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 descr="https://encrypted-tbn1.gstatic.com/images?q=tbn:ANd9GcT1I5eWnI08BAx7foGTdqFFgKikucPs-0DqS3UUUKrv487m2NykQw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9073" y="4785069"/>
            <a:ext cx="199132" cy="199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" descr="https://encrypted-tbn1.gstatic.com/images?q=tbn:ANd9GcT1I5eWnI08BAx7foGTdqFFgKikucPs-0DqS3UUUKrv487m2NykQw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196" y="4786082"/>
            <a:ext cx="199132" cy="199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21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8" grpId="0"/>
      <p:bldP spid="12" grpId="0"/>
      <p:bldP spid="16" grpId="0"/>
      <p:bldP spid="17" grpId="0"/>
      <p:bldP spid="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genda</a:t>
            </a: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98526" y="1628775"/>
            <a:ext cx="7921918" cy="2616101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pt-BR" sz="2000" b="1" dirty="0">
                <a:solidFill>
                  <a:schemeClr val="tx2"/>
                </a:solidFill>
              </a:rPr>
              <a:t>ERPs y la GESTION DE </a:t>
            </a:r>
            <a:r>
              <a:rPr lang="en-US" altLang="pt-BR" sz="2000" b="1" dirty="0" smtClean="0">
                <a:solidFill>
                  <a:schemeClr val="tx2"/>
                </a:solidFill>
              </a:rPr>
              <a:t>OPERACIONES </a:t>
            </a:r>
            <a:r>
              <a:rPr lang="en-US" altLang="pt-BR" sz="2000" b="1" dirty="0">
                <a:solidFill>
                  <a:schemeClr val="tx2"/>
                </a:solidFill>
              </a:rPr>
              <a:t>DE COMEX</a:t>
            </a:r>
          </a:p>
          <a:p>
            <a:r>
              <a:rPr lang="en-US" altLang="pt-BR" sz="2000" dirty="0">
                <a:solidFill>
                  <a:schemeClr val="bg1"/>
                </a:solidFill>
              </a:rPr>
              <a:t>ACERCA DE </a:t>
            </a:r>
            <a:r>
              <a:rPr lang="pt-BR" altLang="pt-BR" sz="2000" dirty="0" smtClean="0">
                <a:solidFill>
                  <a:schemeClr val="bg1"/>
                </a:solidFill>
              </a:rPr>
              <a:t>GLOBAL </a:t>
            </a:r>
            <a:r>
              <a:rPr lang="pt-BR" altLang="pt-BR" sz="2000" dirty="0">
                <a:solidFill>
                  <a:schemeClr val="bg1"/>
                </a:solidFill>
              </a:rPr>
              <a:t>TRADE  </a:t>
            </a:r>
            <a:r>
              <a:rPr lang="pt-BR" altLang="pt-BR" sz="2000" dirty="0" smtClean="0">
                <a:solidFill>
                  <a:schemeClr val="bg1"/>
                </a:solidFill>
              </a:rPr>
              <a:t>MANAGEMENT</a:t>
            </a: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ACERCA DE THOMSON REUTERS ONESOURCE GTM</a:t>
            </a:r>
            <a:endParaRPr lang="en-US" altLang="pt-BR" sz="2000" dirty="0">
              <a:solidFill>
                <a:schemeClr val="bg1"/>
              </a:solidFill>
            </a:endParaRPr>
          </a:p>
          <a:p>
            <a:r>
              <a:rPr lang="pt-BR" altLang="pt-BR" sz="2000" dirty="0" smtClean="0">
                <a:solidFill>
                  <a:schemeClr val="bg1"/>
                </a:solidFill>
              </a:rPr>
              <a:t>PREGUNTAS</a:t>
            </a:r>
            <a:endParaRPr lang="pt-BR" altLang="pt-BR" sz="2000" dirty="0" smtClean="0">
              <a:solidFill>
                <a:schemeClr val="bg1"/>
              </a:solidFill>
            </a:endParaRPr>
          </a:p>
          <a:p>
            <a:endParaRPr lang="en-US" altLang="pt-BR" sz="2000" dirty="0" smtClean="0"/>
          </a:p>
          <a:p>
            <a:endParaRPr lang="en-US" altLang="pt-BR" sz="2000" dirty="0"/>
          </a:p>
        </p:txBody>
      </p:sp>
    </p:spTree>
    <p:extLst>
      <p:ext uri="{BB962C8B-B14F-4D97-AF65-F5344CB8AC3E}">
        <p14:creationId xmlns:p14="http://schemas.microsoft.com/office/powerpoint/2010/main" val="1730149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Block Arc 65"/>
          <p:cNvSpPr/>
          <p:nvPr/>
        </p:nvSpPr>
        <p:spPr>
          <a:xfrm>
            <a:off x="-5214562" y="130287"/>
            <a:ext cx="6882091" cy="6882091"/>
          </a:xfrm>
          <a:prstGeom prst="blockArc">
            <a:avLst>
              <a:gd name="adj1" fmla="val 18900000"/>
              <a:gd name="adj2" fmla="val 2700000"/>
              <a:gd name="adj3" fmla="val 314"/>
            </a:avLst>
          </a:prstGeom>
          <a:ln>
            <a:solidFill>
              <a:srgbClr val="005A84"/>
            </a:solidFill>
          </a:ln>
        </p:spPr>
        <p:style>
          <a:lnRef idx="2">
            <a:scrgbClr r="0" g="0" b="0"/>
          </a:lnRef>
          <a:fillRef idx="0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7" name="Group 66"/>
          <p:cNvGrpSpPr/>
          <p:nvPr/>
        </p:nvGrpSpPr>
        <p:grpSpPr>
          <a:xfrm>
            <a:off x="921255" y="1247465"/>
            <a:ext cx="7854020" cy="464630"/>
            <a:chOff x="358646" y="232417"/>
            <a:chExt cx="7854020" cy="464630"/>
          </a:xfrm>
          <a:scene3d>
            <a:camera prst="orthographicFront"/>
            <a:lightRig rig="flat" dir="t"/>
          </a:scene3d>
        </p:grpSpPr>
        <p:sp>
          <p:nvSpPr>
            <p:cNvPr id="93" name="Rectangle 92"/>
            <p:cNvSpPr/>
            <p:nvPr/>
          </p:nvSpPr>
          <p:spPr>
            <a:xfrm>
              <a:off x="358646" y="232417"/>
              <a:ext cx="7854020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4" name="Rectangle 93"/>
            <p:cNvSpPr/>
            <p:nvPr/>
          </p:nvSpPr>
          <p:spPr>
            <a:xfrm>
              <a:off x="358646" y="232417"/>
              <a:ext cx="7854020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Escalabilidad a Nuevos Rollouts</a:t>
              </a:r>
              <a:endParaRPr lang="es-AR" sz="16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68" name="Oval 67"/>
          <p:cNvSpPr/>
          <p:nvPr/>
        </p:nvSpPr>
        <p:spPr>
          <a:xfrm>
            <a:off x="630861" y="1189386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9" name="Group 68"/>
          <p:cNvGrpSpPr/>
          <p:nvPr/>
        </p:nvGrpSpPr>
        <p:grpSpPr>
          <a:xfrm>
            <a:off x="1342019" y="1944819"/>
            <a:ext cx="7433256" cy="464630"/>
            <a:chOff x="779410" y="929771"/>
            <a:chExt cx="7433256" cy="464630"/>
          </a:xfrm>
          <a:scene3d>
            <a:camera prst="orthographicFront"/>
            <a:lightRig rig="flat" dir="t"/>
          </a:scene3d>
        </p:grpSpPr>
        <p:sp>
          <p:nvSpPr>
            <p:cNvPr id="91" name="Rectangle 90"/>
            <p:cNvSpPr/>
            <p:nvPr/>
          </p:nvSpPr>
          <p:spPr>
            <a:xfrm>
              <a:off x="779410" y="929771"/>
              <a:ext cx="7433256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2" name="Rectangle 91"/>
            <p:cNvSpPr/>
            <p:nvPr/>
          </p:nvSpPr>
          <p:spPr>
            <a:xfrm>
              <a:off x="779410" y="929771"/>
              <a:ext cx="7433256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Operaciones End-To-End (Intercompany)</a:t>
              </a:r>
              <a:endParaRPr lang="es-AR" sz="16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Oval 69"/>
          <p:cNvSpPr/>
          <p:nvPr/>
        </p:nvSpPr>
        <p:spPr>
          <a:xfrm>
            <a:off x="1051626" y="1886740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1" name="Group 70"/>
          <p:cNvGrpSpPr/>
          <p:nvPr/>
        </p:nvGrpSpPr>
        <p:grpSpPr>
          <a:xfrm>
            <a:off x="1572596" y="2641662"/>
            <a:ext cx="7202679" cy="464630"/>
            <a:chOff x="1009987" y="1626614"/>
            <a:chExt cx="7202679" cy="464630"/>
          </a:xfrm>
          <a:scene3d>
            <a:camera prst="orthographicFront"/>
            <a:lightRig rig="flat" dir="t"/>
          </a:scene3d>
        </p:grpSpPr>
        <p:sp>
          <p:nvSpPr>
            <p:cNvPr id="89" name="Rectangle 88"/>
            <p:cNvSpPr/>
            <p:nvPr/>
          </p:nvSpPr>
          <p:spPr>
            <a:xfrm>
              <a:off x="1009987" y="1626614"/>
              <a:ext cx="7202679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0" name="Rectangle 89"/>
            <p:cNvSpPr/>
            <p:nvPr/>
          </p:nvSpPr>
          <p:spPr>
            <a:xfrm>
              <a:off x="1009987" y="1626614"/>
              <a:ext cx="7202679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Centralización de Información</a:t>
              </a:r>
            </a:p>
          </p:txBody>
        </p:sp>
      </p:grpSp>
      <p:sp>
        <p:nvSpPr>
          <p:cNvPr id="72" name="Oval 71"/>
          <p:cNvSpPr/>
          <p:nvPr/>
        </p:nvSpPr>
        <p:spPr>
          <a:xfrm>
            <a:off x="1282202" y="2583583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3" name="Group 72"/>
          <p:cNvGrpSpPr/>
          <p:nvPr/>
        </p:nvGrpSpPr>
        <p:grpSpPr>
          <a:xfrm>
            <a:off x="1646217" y="3339016"/>
            <a:ext cx="7129058" cy="464630"/>
            <a:chOff x="1083608" y="2323968"/>
            <a:chExt cx="7129058" cy="464630"/>
          </a:xfrm>
          <a:scene3d>
            <a:camera prst="orthographicFront"/>
            <a:lightRig rig="flat" dir="t"/>
          </a:scene3d>
        </p:grpSpPr>
        <p:sp>
          <p:nvSpPr>
            <p:cNvPr id="87" name="Rectangle 86"/>
            <p:cNvSpPr/>
            <p:nvPr/>
          </p:nvSpPr>
          <p:spPr>
            <a:xfrm>
              <a:off x="1083608" y="2323968"/>
              <a:ext cx="7129058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8" name="Rectangle 87"/>
            <p:cNvSpPr/>
            <p:nvPr/>
          </p:nvSpPr>
          <p:spPr>
            <a:xfrm>
              <a:off x="1083608" y="2323968"/>
              <a:ext cx="7129058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Know-How COMEX a Nivel Global / A</a:t>
              </a:r>
              <a:r>
                <a:rPr lang="it-IT" sz="1600" kern="1200" dirty="0" smtClean="0">
                  <a:solidFill>
                    <a:schemeClr val="bg1"/>
                  </a:solidFill>
                </a:rPr>
                <a:t>cceso a la plataforma CHECKPOINT </a:t>
              </a:r>
              <a:r>
                <a:rPr lang="es-AR" sz="1600" kern="1200" dirty="0" smtClean="0">
                  <a:solidFill>
                    <a:schemeClr val="bg1"/>
                  </a:solidFill>
                </a:rPr>
                <a:t>COMEX</a:t>
              </a:r>
            </a:p>
          </p:txBody>
        </p:sp>
      </p:grpSp>
      <p:sp>
        <p:nvSpPr>
          <p:cNvPr id="74" name="Oval 73"/>
          <p:cNvSpPr/>
          <p:nvPr/>
        </p:nvSpPr>
        <p:spPr>
          <a:xfrm>
            <a:off x="1355823" y="3280938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5" name="Group 74"/>
          <p:cNvGrpSpPr/>
          <p:nvPr/>
        </p:nvGrpSpPr>
        <p:grpSpPr>
          <a:xfrm>
            <a:off x="1572596" y="4036371"/>
            <a:ext cx="7202679" cy="464630"/>
            <a:chOff x="1009987" y="3021323"/>
            <a:chExt cx="7202679" cy="464630"/>
          </a:xfrm>
          <a:scene3d>
            <a:camera prst="orthographicFront"/>
            <a:lightRig rig="flat" dir="t"/>
          </a:scene3d>
        </p:grpSpPr>
        <p:sp>
          <p:nvSpPr>
            <p:cNvPr id="85" name="Rectangle 84"/>
            <p:cNvSpPr/>
            <p:nvPr/>
          </p:nvSpPr>
          <p:spPr>
            <a:xfrm>
              <a:off x="1009987" y="3021323"/>
              <a:ext cx="7202679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6" name="Rectangle 85"/>
            <p:cNvSpPr/>
            <p:nvPr/>
          </p:nvSpPr>
          <p:spPr>
            <a:xfrm>
              <a:off x="1009987" y="3021323"/>
              <a:ext cx="7202679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Socio Global - Portfolio de Soluciones TR</a:t>
              </a:r>
            </a:p>
          </p:txBody>
        </p:sp>
      </p:grpSp>
      <p:sp>
        <p:nvSpPr>
          <p:cNvPr id="76" name="Oval 75"/>
          <p:cNvSpPr/>
          <p:nvPr/>
        </p:nvSpPr>
        <p:spPr>
          <a:xfrm>
            <a:off x="1282202" y="3978292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7" name="Group 76"/>
          <p:cNvGrpSpPr/>
          <p:nvPr/>
        </p:nvGrpSpPr>
        <p:grpSpPr>
          <a:xfrm>
            <a:off x="1342019" y="4733214"/>
            <a:ext cx="7433256" cy="464630"/>
            <a:chOff x="779410" y="3718166"/>
            <a:chExt cx="7433256" cy="464630"/>
          </a:xfrm>
          <a:scene3d>
            <a:camera prst="orthographicFront"/>
            <a:lightRig rig="flat" dir="t"/>
          </a:scene3d>
        </p:grpSpPr>
        <p:sp>
          <p:nvSpPr>
            <p:cNvPr id="83" name="Rectangle 82"/>
            <p:cNvSpPr/>
            <p:nvPr/>
          </p:nvSpPr>
          <p:spPr>
            <a:xfrm>
              <a:off x="779410" y="3718166"/>
              <a:ext cx="7433256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4" name="Rectangle 83"/>
            <p:cNvSpPr/>
            <p:nvPr/>
          </p:nvSpPr>
          <p:spPr>
            <a:xfrm>
              <a:off x="779410" y="3718166"/>
              <a:ext cx="7433256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Cobertura ante cambios en la legislación aduanera</a:t>
              </a:r>
            </a:p>
          </p:txBody>
        </p:sp>
      </p:grpSp>
      <p:sp>
        <p:nvSpPr>
          <p:cNvPr id="78" name="Oval 77"/>
          <p:cNvSpPr/>
          <p:nvPr/>
        </p:nvSpPr>
        <p:spPr>
          <a:xfrm>
            <a:off x="1051626" y="4675135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79" name="Group 78"/>
          <p:cNvGrpSpPr/>
          <p:nvPr/>
        </p:nvGrpSpPr>
        <p:grpSpPr>
          <a:xfrm>
            <a:off x="921255" y="5430568"/>
            <a:ext cx="7854020" cy="464630"/>
            <a:chOff x="358646" y="4415520"/>
            <a:chExt cx="7854020" cy="464630"/>
          </a:xfrm>
          <a:scene3d>
            <a:camera prst="orthographicFront"/>
            <a:lightRig rig="flat" dir="t"/>
          </a:scene3d>
        </p:grpSpPr>
        <p:sp>
          <p:nvSpPr>
            <p:cNvPr id="81" name="Rectangle 80"/>
            <p:cNvSpPr/>
            <p:nvPr/>
          </p:nvSpPr>
          <p:spPr>
            <a:xfrm>
              <a:off x="358646" y="4415520"/>
              <a:ext cx="7854020" cy="464630"/>
            </a:xfrm>
            <a:prstGeom prst="rect">
              <a:avLst/>
            </a:prstGeom>
            <a:solidFill>
              <a:srgbClr val="005A84"/>
            </a:solidFill>
            <a:ln>
              <a:solidFill>
                <a:srgbClr val="005A84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2" name="Rectangle 81"/>
            <p:cNvSpPr/>
            <p:nvPr/>
          </p:nvSpPr>
          <p:spPr>
            <a:xfrm>
              <a:off x="358646" y="4415520"/>
              <a:ext cx="7854020" cy="46463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68800" tIns="40640" rIns="40640" bIns="4064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600" kern="1200" dirty="0" smtClean="0">
                  <a:solidFill>
                    <a:schemeClr val="bg1"/>
                  </a:solidFill>
                </a:rPr>
                <a:t>Mejoras Evolutivas y Compliance Local</a:t>
              </a:r>
            </a:p>
          </p:txBody>
        </p:sp>
      </p:grpSp>
      <p:sp>
        <p:nvSpPr>
          <p:cNvPr id="80" name="Oval 79"/>
          <p:cNvSpPr/>
          <p:nvPr/>
        </p:nvSpPr>
        <p:spPr>
          <a:xfrm>
            <a:off x="630861" y="5372489"/>
            <a:ext cx="580787" cy="580787"/>
          </a:xfrm>
          <a:prstGeom prst="ellipse">
            <a:avLst/>
          </a:prstGeom>
          <a:ln>
            <a:solidFill>
              <a:srgbClr val="005A84"/>
            </a:solidFill>
          </a:ln>
        </p:spPr>
        <p:style>
          <a:lnRef idx="1">
            <a:scrgbClr r="0" g="0" b="0"/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296" y="-13649"/>
            <a:ext cx="9208854" cy="1164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13" descr="Description: Routes 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17449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4" cstate="print"/>
          <a:srcRect l="7467" t="35063" r="10032" b="38359"/>
          <a:stretch>
            <a:fillRect/>
          </a:stretch>
        </p:blipFill>
        <p:spPr bwMode="auto">
          <a:xfrm>
            <a:off x="5179021" y="623630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9171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lgunos de nuestros Casos de Exito</a:t>
            </a:r>
            <a:endParaRPr lang="pt-BR" dirty="0"/>
          </a:p>
        </p:txBody>
      </p:sp>
      <p:grpSp>
        <p:nvGrpSpPr>
          <p:cNvPr id="3" name="Grupo 2"/>
          <p:cNvGrpSpPr/>
          <p:nvPr/>
        </p:nvGrpSpPr>
        <p:grpSpPr>
          <a:xfrm>
            <a:off x="683568" y="1124744"/>
            <a:ext cx="7749138" cy="4954190"/>
            <a:chOff x="899592" y="1484784"/>
            <a:chExt cx="7380312" cy="4605767"/>
          </a:xfrm>
        </p:grpSpPr>
        <p:pic>
          <p:nvPicPr>
            <p:cNvPr id="4" name="Imagem 3" descr="logos clientes_2009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9592" y="1484784"/>
              <a:ext cx="7380312" cy="45268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3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9266" y="4952054"/>
              <a:ext cx="648072" cy="333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13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3372" y="5539004"/>
              <a:ext cx="676536" cy="5515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Imagem 32" descr="logos clientes_2009.jpg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90" t="94648" r="89917"/>
            <a:stretch/>
          </p:blipFill>
          <p:spPr bwMode="auto">
            <a:xfrm>
              <a:off x="6793362" y="1751044"/>
              <a:ext cx="572027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40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6662" y="1977954"/>
              <a:ext cx="792088" cy="1605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4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8875" y="1722580"/>
              <a:ext cx="866059" cy="233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3" descr="Description: Routes 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6242739"/>
            <a:ext cx="586209" cy="52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print"/>
          <a:srcRect l="7467" t="35063" r="10032" b="38359"/>
          <a:stretch>
            <a:fillRect/>
          </a:stretch>
        </p:blipFill>
        <p:spPr bwMode="auto">
          <a:xfrm>
            <a:off x="5179021" y="6304547"/>
            <a:ext cx="3202979" cy="534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08750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237995" y="96253"/>
            <a:ext cx="8863143" cy="767457"/>
          </a:xfrm>
        </p:spPr>
        <p:txBody>
          <a:bodyPr/>
          <a:lstStyle/>
          <a:p>
            <a:r>
              <a:rPr lang="en-US" sz="2400" dirty="0" smtClean="0"/>
              <a:t>LA PRIMERA SOLUCIÓN REALMENTE GLOBAL PARA COMERCIO EXTERIOR - ROADMAP</a:t>
            </a:r>
          </a:p>
        </p:txBody>
      </p:sp>
      <p:graphicFrame>
        <p:nvGraphicFramePr>
          <p:cNvPr id="6" name="Diagram 5"/>
          <p:cNvGraphicFramePr/>
          <p:nvPr/>
        </p:nvGraphicFramePr>
        <p:xfrm>
          <a:off x="-180528" y="762126"/>
          <a:ext cx="1468989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743813586"/>
              </p:ext>
            </p:extLst>
          </p:nvPr>
        </p:nvGraphicFramePr>
        <p:xfrm>
          <a:off x="1071549" y="1002082"/>
          <a:ext cx="1458710" cy="46613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48930702"/>
              </p:ext>
            </p:extLst>
          </p:nvPr>
        </p:nvGraphicFramePr>
        <p:xfrm>
          <a:off x="2349130" y="1002082"/>
          <a:ext cx="1584176" cy="4418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214592280"/>
              </p:ext>
            </p:extLst>
          </p:nvPr>
        </p:nvGraphicFramePr>
        <p:xfrm>
          <a:off x="3720430" y="1039660"/>
          <a:ext cx="1489054" cy="4694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4212490132"/>
              </p:ext>
            </p:extLst>
          </p:nvPr>
        </p:nvGraphicFramePr>
        <p:xfrm>
          <a:off x="4978996" y="1240076"/>
          <a:ext cx="1559591" cy="45188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593957701"/>
              </p:ext>
            </p:extLst>
          </p:nvPr>
        </p:nvGraphicFramePr>
        <p:xfrm>
          <a:off x="6300192" y="1075276"/>
          <a:ext cx="1584176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13" name="Right Arrow 12"/>
          <p:cNvSpPr/>
          <p:nvPr/>
        </p:nvSpPr>
        <p:spPr>
          <a:xfrm>
            <a:off x="68263" y="5540375"/>
            <a:ext cx="1220787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4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1435100" y="5527675"/>
            <a:ext cx="1095375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5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2644775" y="5514975"/>
            <a:ext cx="1187450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6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4025900" y="5540375"/>
            <a:ext cx="1220788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7</a:t>
            </a:r>
          </a:p>
        </p:txBody>
      </p:sp>
      <p:sp>
        <p:nvSpPr>
          <p:cNvPr id="17" name="Right Arrow 16"/>
          <p:cNvSpPr/>
          <p:nvPr/>
        </p:nvSpPr>
        <p:spPr>
          <a:xfrm>
            <a:off x="5419725" y="5540375"/>
            <a:ext cx="1220788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8</a:t>
            </a:r>
          </a:p>
        </p:txBody>
      </p:sp>
      <p:sp>
        <p:nvSpPr>
          <p:cNvPr id="18" name="Right Arrow 17"/>
          <p:cNvSpPr/>
          <p:nvPr/>
        </p:nvSpPr>
        <p:spPr>
          <a:xfrm>
            <a:off x="6650038" y="5553075"/>
            <a:ext cx="1220787" cy="398463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19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7880350" y="5537200"/>
            <a:ext cx="1220788" cy="415925"/>
          </a:xfrm>
          <a:prstGeom prst="rightArrow">
            <a:avLst/>
          </a:prstGeom>
          <a:gradFill flip="none" rotWithShape="1">
            <a:gsLst>
              <a:gs pos="2000">
                <a:srgbClr val="CC3300">
                  <a:shade val="30000"/>
                  <a:satMod val="115000"/>
                </a:srgbClr>
              </a:gs>
              <a:gs pos="100000">
                <a:schemeClr val="bg1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1400" dirty="0">
                <a:solidFill>
                  <a:srgbClr val="FFFFFF"/>
                </a:solidFill>
              </a:rPr>
              <a:t>       2020</a:t>
            </a:r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1992303539"/>
              </p:ext>
            </p:extLst>
          </p:nvPr>
        </p:nvGraphicFramePr>
        <p:xfrm>
          <a:off x="7630036" y="839370"/>
          <a:ext cx="1584176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32785" name="TextBox 1"/>
          <p:cNvSpPr txBox="1">
            <a:spLocks noChangeArrowheads="1"/>
          </p:cNvSpPr>
          <p:nvPr/>
        </p:nvSpPr>
        <p:spPr bwMode="auto">
          <a:xfrm>
            <a:off x="5943599" y="6172200"/>
            <a:ext cx="296240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s-PE" sz="900" i="1" smtClean="0"/>
              <a:t>2015 – en ejecución; a partir de 2016 – por ejecutar</a:t>
            </a:r>
            <a:endParaRPr lang="es-PE" sz="900" i="1"/>
          </a:p>
        </p:txBody>
      </p:sp>
      <p:pic>
        <p:nvPicPr>
          <p:cNvPr id="20" name="Picture 13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8215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Agenda</a:t>
            </a:r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98526" y="1628775"/>
            <a:ext cx="7921918" cy="2800767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pt-BR" sz="2000" dirty="0">
                <a:solidFill>
                  <a:schemeClr val="bg1"/>
                </a:solidFill>
              </a:rPr>
              <a:t>ERPs y la GESTION DE </a:t>
            </a:r>
            <a:r>
              <a:rPr lang="en-US" altLang="pt-BR" sz="2000" dirty="0">
                <a:solidFill>
                  <a:schemeClr val="bg1"/>
                </a:solidFill>
              </a:rPr>
              <a:t>OPERACIONES </a:t>
            </a:r>
            <a:r>
              <a:rPr lang="en-US" altLang="pt-BR" sz="2000" dirty="0">
                <a:solidFill>
                  <a:schemeClr val="bg1"/>
                </a:solidFill>
              </a:rPr>
              <a:t>DE COMEX</a:t>
            </a:r>
          </a:p>
          <a:p>
            <a:r>
              <a:rPr lang="en-US" altLang="pt-BR" sz="2000" dirty="0">
                <a:solidFill>
                  <a:schemeClr val="bg1"/>
                </a:solidFill>
              </a:rPr>
              <a:t>ACERCA DE </a:t>
            </a:r>
            <a:r>
              <a:rPr lang="pt-BR" altLang="pt-BR" sz="2000" dirty="0">
                <a:solidFill>
                  <a:schemeClr val="bg1"/>
                </a:solidFill>
              </a:rPr>
              <a:t>GLOBAL TRADE  MANAGEMENT</a:t>
            </a:r>
          </a:p>
          <a:p>
            <a:r>
              <a:rPr lang="pt-BR" altLang="pt-BR" sz="2000" dirty="0">
                <a:solidFill>
                  <a:schemeClr val="bg1"/>
                </a:solidFill>
              </a:rPr>
              <a:t>ACERCA DE THOMSON REUTERS ONESOURCE GTM</a:t>
            </a:r>
            <a:endParaRPr lang="en-US" altLang="pt-BR" sz="2400" dirty="0">
              <a:solidFill>
                <a:schemeClr val="bg1"/>
              </a:solidFill>
            </a:endParaRPr>
          </a:p>
          <a:p>
            <a:r>
              <a:rPr lang="pt-BR" altLang="pt-BR" sz="2800" b="1" dirty="0" smtClean="0">
                <a:solidFill>
                  <a:schemeClr val="tx2"/>
                </a:solidFill>
              </a:rPr>
              <a:t>PREGUNTAS?</a:t>
            </a:r>
            <a:endParaRPr lang="pt-BR" altLang="pt-BR" sz="2400" b="1" dirty="0">
              <a:solidFill>
                <a:schemeClr val="tx2"/>
              </a:solidFill>
            </a:endParaRPr>
          </a:p>
          <a:p>
            <a:endParaRPr lang="en-US" altLang="pt-BR" sz="2000" dirty="0" smtClean="0"/>
          </a:p>
          <a:p>
            <a:endParaRPr lang="en-US" altLang="pt-BR" sz="2000" dirty="0"/>
          </a:p>
        </p:txBody>
      </p:sp>
    </p:spTree>
    <p:extLst>
      <p:ext uri="{BB962C8B-B14F-4D97-AF65-F5344CB8AC3E}">
        <p14:creationId xmlns:p14="http://schemas.microsoft.com/office/powerpoint/2010/main" val="39762534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2515421"/>
            <a:ext cx="9144000" cy="949997"/>
          </a:xfrm>
        </p:spPr>
        <p:txBody>
          <a:bodyPr/>
          <a:lstStyle/>
          <a:p>
            <a:pPr algn="ctr"/>
            <a:r>
              <a:rPr lang="en-US" altLang="ko-KR" sz="6000" dirty="0" err="1" smtClean="0"/>
              <a:t>Muchas</a:t>
            </a:r>
            <a:r>
              <a:rPr lang="en-US" altLang="ko-KR" sz="6000" dirty="0" smtClean="0"/>
              <a:t> Gracias</a:t>
            </a:r>
            <a:endParaRPr lang="en-US" sz="6000" dirty="0" smtClean="0"/>
          </a:p>
        </p:txBody>
      </p:sp>
    </p:spTree>
    <p:extLst>
      <p:ext uri="{BB962C8B-B14F-4D97-AF65-F5344CB8AC3E}">
        <p14:creationId xmlns:p14="http://schemas.microsoft.com/office/powerpoint/2010/main" val="310481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403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Hexagon 29"/>
          <p:cNvSpPr/>
          <p:nvPr/>
        </p:nvSpPr>
        <p:spPr>
          <a:xfrm>
            <a:off x="1555839" y="154240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Producción</a:t>
            </a:r>
            <a:endParaRPr lang="en-US" sz="1100" dirty="0"/>
          </a:p>
        </p:txBody>
      </p:sp>
      <p:sp>
        <p:nvSpPr>
          <p:cNvPr id="29" name="Hexagon 28"/>
          <p:cNvSpPr/>
          <p:nvPr/>
        </p:nvSpPr>
        <p:spPr>
          <a:xfrm>
            <a:off x="2786405" y="3252869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Compras y </a:t>
            </a:r>
          </a:p>
          <a:p>
            <a:pPr algn="ctr"/>
            <a:r>
              <a:rPr lang="es-CL" sz="1050" dirty="0" smtClean="0"/>
              <a:t>Ventas</a:t>
            </a:r>
            <a:endParaRPr lang="en-US" sz="10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pic>
        <p:nvPicPr>
          <p:cNvPr id="7" name="Imagem 2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1267" y="4821190"/>
            <a:ext cx="676158" cy="679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5982" y="3820187"/>
            <a:ext cx="1446881" cy="88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http://ts2.mm.bing.net/th?id=I4836305616504485&amp;pid=1.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7634" y="4886860"/>
            <a:ext cx="1185503" cy="616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7634" y="2968499"/>
            <a:ext cx="1386553" cy="67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7784" y="2968499"/>
            <a:ext cx="1383764" cy="67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Hexagon 27"/>
          <p:cNvSpPr/>
          <p:nvPr/>
        </p:nvSpPr>
        <p:spPr>
          <a:xfrm>
            <a:off x="2800032" y="2118615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Inventario</a:t>
            </a:r>
            <a:endParaRPr lang="en-US" sz="1100" dirty="0"/>
          </a:p>
        </p:txBody>
      </p:sp>
      <p:sp>
        <p:nvSpPr>
          <p:cNvPr id="31" name="Hexagon 30"/>
          <p:cNvSpPr/>
          <p:nvPr/>
        </p:nvSpPr>
        <p:spPr>
          <a:xfrm>
            <a:off x="286601" y="2096547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RRHH</a:t>
            </a:r>
            <a:endParaRPr lang="en-US" sz="1100" dirty="0"/>
          </a:p>
        </p:txBody>
      </p:sp>
      <p:sp>
        <p:nvSpPr>
          <p:cNvPr id="32" name="Hexagon 31"/>
          <p:cNvSpPr/>
          <p:nvPr/>
        </p:nvSpPr>
        <p:spPr>
          <a:xfrm>
            <a:off x="275223" y="3226708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Finanzas</a:t>
            </a:r>
            <a:endParaRPr lang="en-US" sz="1100" dirty="0"/>
          </a:p>
        </p:txBody>
      </p:sp>
      <p:sp>
        <p:nvSpPr>
          <p:cNvPr id="33" name="Hexagon 32"/>
          <p:cNvSpPr/>
          <p:nvPr/>
        </p:nvSpPr>
        <p:spPr>
          <a:xfrm>
            <a:off x="1525136" y="3798006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Contabilidad</a:t>
            </a:r>
            <a:endParaRPr lang="en-US" sz="1100" dirty="0"/>
          </a:p>
        </p:txBody>
      </p:sp>
      <p:sp>
        <p:nvSpPr>
          <p:cNvPr id="34" name="Hexagon 33"/>
          <p:cNvSpPr/>
          <p:nvPr/>
        </p:nvSpPr>
        <p:spPr>
          <a:xfrm>
            <a:off x="1533040" y="266906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b="1" dirty="0" smtClean="0"/>
              <a:t>ERP</a:t>
            </a:r>
            <a:endParaRPr lang="en-US" b="1" dirty="0"/>
          </a:p>
        </p:txBody>
      </p:sp>
      <p:pic>
        <p:nvPicPr>
          <p:cNvPr id="1032" name="Picture 8" descr="http://static.datixinc.com/wp-content/uploads/2015/04/infor-logo-300x28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011" y="3883332"/>
            <a:ext cx="697614" cy="651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://www.bslion.in/images/oracle-logo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728" y="2071138"/>
            <a:ext cx="1048872" cy="639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027" y="2070440"/>
            <a:ext cx="1316888" cy="666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5667783" y="1352401"/>
            <a:ext cx="2926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Algunos de los Principales:</a:t>
            </a:r>
            <a:endParaRPr lang="en-US" dirty="0"/>
          </a:p>
        </p:txBody>
      </p:sp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332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9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9" grpId="0" animBg="1"/>
      <p:bldP spid="28" grpId="0" animBg="1"/>
      <p:bldP spid="31" grpId="0" animBg="1"/>
      <p:bldP spid="32" grpId="0" animBg="1"/>
      <p:bldP spid="33" grpId="0" animBg="1"/>
      <p:bldP spid="34" grpId="0" animBg="1"/>
      <p:bldP spid="4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864841" y="5841242"/>
            <a:ext cx="2148531" cy="464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Hexagon 25"/>
          <p:cNvSpPr/>
          <p:nvPr/>
        </p:nvSpPr>
        <p:spPr>
          <a:xfrm>
            <a:off x="2828347" y="1002738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MRP</a:t>
            </a:r>
            <a:endParaRPr lang="en-US" sz="1050" dirty="0"/>
          </a:p>
        </p:txBody>
      </p:sp>
      <p:sp>
        <p:nvSpPr>
          <p:cNvPr id="22" name="Hexagon 21"/>
          <p:cNvSpPr/>
          <p:nvPr/>
        </p:nvSpPr>
        <p:spPr>
          <a:xfrm>
            <a:off x="4066105" y="1577529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SCM</a:t>
            </a:r>
            <a:endParaRPr lang="en-US" sz="1050" dirty="0"/>
          </a:p>
        </p:txBody>
      </p:sp>
      <p:sp>
        <p:nvSpPr>
          <p:cNvPr id="23" name="Hexagon 22"/>
          <p:cNvSpPr/>
          <p:nvPr/>
        </p:nvSpPr>
        <p:spPr>
          <a:xfrm>
            <a:off x="4060511" y="2700694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WMS</a:t>
            </a:r>
            <a:endParaRPr lang="en-US" sz="1050" dirty="0"/>
          </a:p>
        </p:txBody>
      </p:sp>
      <p:sp>
        <p:nvSpPr>
          <p:cNvPr id="30" name="Hexagon 29"/>
          <p:cNvSpPr/>
          <p:nvPr/>
        </p:nvSpPr>
        <p:spPr>
          <a:xfrm>
            <a:off x="1555839" y="154240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Producción</a:t>
            </a:r>
            <a:endParaRPr lang="en-US" sz="1100" dirty="0"/>
          </a:p>
        </p:txBody>
      </p:sp>
      <p:sp>
        <p:nvSpPr>
          <p:cNvPr id="29" name="Hexagon 28"/>
          <p:cNvSpPr/>
          <p:nvPr/>
        </p:nvSpPr>
        <p:spPr>
          <a:xfrm>
            <a:off x="2786405" y="3252869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Compras y </a:t>
            </a:r>
          </a:p>
          <a:p>
            <a:pPr algn="ctr"/>
            <a:r>
              <a:rPr lang="es-CL" sz="1050" dirty="0" smtClean="0"/>
              <a:t>Ventas</a:t>
            </a:r>
            <a:endParaRPr lang="en-US" sz="1050" dirty="0"/>
          </a:p>
        </p:txBody>
      </p:sp>
      <p:sp>
        <p:nvSpPr>
          <p:cNvPr id="28" name="Hexagon 27"/>
          <p:cNvSpPr/>
          <p:nvPr/>
        </p:nvSpPr>
        <p:spPr>
          <a:xfrm>
            <a:off x="2811907" y="2118615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Inventario</a:t>
            </a:r>
            <a:endParaRPr lang="en-US" sz="1100" dirty="0"/>
          </a:p>
        </p:txBody>
      </p:sp>
      <p:sp>
        <p:nvSpPr>
          <p:cNvPr id="31" name="Hexagon 30"/>
          <p:cNvSpPr/>
          <p:nvPr/>
        </p:nvSpPr>
        <p:spPr>
          <a:xfrm>
            <a:off x="286601" y="2096547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RRHH</a:t>
            </a:r>
            <a:endParaRPr lang="en-US" sz="1100" dirty="0"/>
          </a:p>
        </p:txBody>
      </p:sp>
      <p:sp>
        <p:nvSpPr>
          <p:cNvPr id="32" name="Hexagon 31"/>
          <p:cNvSpPr/>
          <p:nvPr/>
        </p:nvSpPr>
        <p:spPr>
          <a:xfrm>
            <a:off x="275223" y="3240356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Finanzas</a:t>
            </a:r>
            <a:endParaRPr lang="en-US" sz="1100" dirty="0"/>
          </a:p>
        </p:txBody>
      </p:sp>
      <p:sp>
        <p:nvSpPr>
          <p:cNvPr id="33" name="Hexagon 32"/>
          <p:cNvSpPr/>
          <p:nvPr/>
        </p:nvSpPr>
        <p:spPr>
          <a:xfrm>
            <a:off x="1525136" y="3798006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Contabilidad</a:t>
            </a:r>
            <a:endParaRPr lang="en-US" sz="1100" dirty="0"/>
          </a:p>
        </p:txBody>
      </p:sp>
      <p:sp>
        <p:nvSpPr>
          <p:cNvPr id="34" name="Hexagon 33"/>
          <p:cNvSpPr/>
          <p:nvPr/>
        </p:nvSpPr>
        <p:spPr>
          <a:xfrm>
            <a:off x="1533040" y="266906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000" b="1" dirty="0" smtClean="0"/>
              <a:t>ERP</a:t>
            </a:r>
            <a:endParaRPr lang="en-US" sz="2000" b="1" dirty="0"/>
          </a:p>
        </p:txBody>
      </p:sp>
      <p:sp>
        <p:nvSpPr>
          <p:cNvPr id="19" name="Hexagon 18"/>
          <p:cNvSpPr/>
          <p:nvPr/>
        </p:nvSpPr>
        <p:spPr>
          <a:xfrm>
            <a:off x="2804597" y="3258892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0" name="Hexagon 19"/>
          <p:cNvSpPr/>
          <p:nvPr/>
        </p:nvSpPr>
        <p:spPr>
          <a:xfrm>
            <a:off x="2816472" y="2112460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1" name="Hexagon 20"/>
          <p:cNvSpPr/>
          <p:nvPr/>
        </p:nvSpPr>
        <p:spPr>
          <a:xfrm>
            <a:off x="1555833" y="1540962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4" name="Hexagon 23"/>
          <p:cNvSpPr/>
          <p:nvPr/>
        </p:nvSpPr>
        <p:spPr>
          <a:xfrm>
            <a:off x="5311005" y="2151566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TMS</a:t>
            </a:r>
            <a:endParaRPr lang="en-US" sz="1050" dirty="0"/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pic>
        <p:nvPicPr>
          <p:cNvPr id="36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6878472" y="1056941"/>
            <a:ext cx="2134901" cy="5416868"/>
          </a:xfrm>
          <a:prstGeom prst="rect">
            <a:avLst/>
          </a:prstGeom>
          <a:solidFill>
            <a:srgbClr val="F2F2F2">
              <a:alpha val="47059"/>
            </a:srgbClr>
          </a:solidFill>
        </p:spPr>
        <p:txBody>
          <a:bodyPr wrap="square" rtlCol="0">
            <a:spAutoFit/>
          </a:bodyPr>
          <a:lstStyle/>
          <a:p>
            <a:r>
              <a:rPr lang="es-CL" sz="1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onde llevamos la Gestión Comex?</a:t>
            </a:r>
          </a:p>
          <a:p>
            <a:endParaRPr lang="es-CL" sz="1400" b="1" dirty="0"/>
          </a:p>
          <a:p>
            <a:pPr marL="171450" indent="-171450">
              <a:buFontTx/>
              <a:buChar char="-"/>
            </a:pPr>
            <a:r>
              <a:rPr lang="es-CL" sz="1200" dirty="0" smtClean="0"/>
              <a:t>Gestión de Ordenes Compra/Venta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Registro, chequeo y archivo de Documentos Comerciales y de Embarque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Pre-costeo de operaciones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Gestión Pagos de Adelantos a Proveedores</a:t>
            </a:r>
          </a:p>
          <a:p>
            <a:pPr marL="171450" indent="-171450">
              <a:buFontTx/>
              <a:buChar char="-"/>
            </a:pPr>
            <a:r>
              <a:rPr lang="es-CL" sz="1200" dirty="0"/>
              <a:t>Control de Envíos Parciales</a:t>
            </a:r>
            <a:endParaRPr lang="es-CL" sz="1200" dirty="0" smtClean="0"/>
          </a:p>
          <a:p>
            <a:pPr marL="171450" indent="-171450">
              <a:buFontTx/>
              <a:buChar char="-"/>
            </a:pPr>
            <a:r>
              <a:rPr lang="es-CL" sz="1200" dirty="0" smtClean="0"/>
              <a:t>Coordinación Logística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Instructivo para Despacho Aduanero (AA)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Coordinación Bancaria</a:t>
            </a:r>
          </a:p>
          <a:p>
            <a:pPr marL="171450" indent="-171450">
              <a:buFontTx/>
              <a:buChar char="-"/>
            </a:pPr>
            <a:r>
              <a:rPr lang="es-CL" sz="1200" dirty="0" err="1" smtClean="0"/>
              <a:t>Reportería</a:t>
            </a:r>
            <a:r>
              <a:rPr lang="es-CL" sz="1200" dirty="0" smtClean="0"/>
              <a:t> a clientes internos y externos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Pago a Proveedores Intermediarios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Provisión de Fondos para Impuestos Aduaneros</a:t>
            </a:r>
          </a:p>
          <a:p>
            <a:pPr marL="171450" indent="-171450">
              <a:buFontTx/>
              <a:buChar char="-"/>
            </a:pPr>
            <a:r>
              <a:rPr lang="es-CL" sz="1200" dirty="0" smtClean="0"/>
              <a:t>Aprobación de </a:t>
            </a:r>
            <a:r>
              <a:rPr lang="es-CL" sz="1200" dirty="0"/>
              <a:t>R</a:t>
            </a:r>
            <a:r>
              <a:rPr lang="es-CL" sz="1200" dirty="0" smtClean="0"/>
              <a:t>endición de Gastos</a:t>
            </a:r>
          </a:p>
          <a:p>
            <a:pPr marL="171450" indent="-171450">
              <a:buFontTx/>
              <a:buChar char="-"/>
            </a:pPr>
            <a:r>
              <a:rPr lang="es-CL" sz="1200" dirty="0" err="1" smtClean="0"/>
              <a:t>Trade</a:t>
            </a:r>
            <a:r>
              <a:rPr lang="es-CL" sz="1200" dirty="0" smtClean="0"/>
              <a:t> </a:t>
            </a:r>
            <a:r>
              <a:rPr lang="es-CL" sz="1200" dirty="0" err="1" smtClean="0"/>
              <a:t>Compliance</a:t>
            </a:r>
            <a:endParaRPr lang="es-CL" sz="1200" dirty="0" smtClean="0"/>
          </a:p>
        </p:txBody>
      </p:sp>
    </p:spTree>
    <p:extLst>
      <p:ext uri="{BB962C8B-B14F-4D97-AF65-F5344CB8AC3E}">
        <p14:creationId xmlns:p14="http://schemas.microsoft.com/office/powerpoint/2010/main" val="23750387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2" grpId="0" animBg="1"/>
      <p:bldP spid="23" grpId="0" animBg="1"/>
      <p:bldP spid="19" grpId="0" animBg="1"/>
      <p:bldP spid="20" grpId="0" animBg="1"/>
      <p:bldP spid="21" grpId="0" animBg="1"/>
      <p:bldP spid="24" grpId="0" animBg="1"/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Hexagon 25"/>
          <p:cNvSpPr/>
          <p:nvPr/>
        </p:nvSpPr>
        <p:spPr>
          <a:xfrm>
            <a:off x="2828347" y="1002738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MRP</a:t>
            </a:r>
            <a:endParaRPr lang="en-US" sz="1050" dirty="0"/>
          </a:p>
        </p:txBody>
      </p:sp>
      <p:sp>
        <p:nvSpPr>
          <p:cNvPr id="22" name="Hexagon 21"/>
          <p:cNvSpPr/>
          <p:nvPr/>
        </p:nvSpPr>
        <p:spPr>
          <a:xfrm>
            <a:off x="4066105" y="1577529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SCM</a:t>
            </a:r>
            <a:endParaRPr lang="en-US" sz="1050" dirty="0"/>
          </a:p>
        </p:txBody>
      </p:sp>
      <p:sp>
        <p:nvSpPr>
          <p:cNvPr id="23" name="Hexagon 22"/>
          <p:cNvSpPr/>
          <p:nvPr/>
        </p:nvSpPr>
        <p:spPr>
          <a:xfrm>
            <a:off x="4060511" y="2700694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WMS</a:t>
            </a:r>
            <a:endParaRPr lang="en-US" sz="1050" dirty="0"/>
          </a:p>
        </p:txBody>
      </p:sp>
      <p:sp>
        <p:nvSpPr>
          <p:cNvPr id="30" name="Hexagon 29"/>
          <p:cNvSpPr/>
          <p:nvPr/>
        </p:nvSpPr>
        <p:spPr>
          <a:xfrm>
            <a:off x="1555839" y="154240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Producción</a:t>
            </a:r>
            <a:endParaRPr lang="en-US" sz="1100" dirty="0"/>
          </a:p>
        </p:txBody>
      </p:sp>
      <p:sp>
        <p:nvSpPr>
          <p:cNvPr id="29" name="Hexagon 28"/>
          <p:cNvSpPr/>
          <p:nvPr/>
        </p:nvSpPr>
        <p:spPr>
          <a:xfrm>
            <a:off x="2786405" y="3252869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Compras y </a:t>
            </a:r>
          </a:p>
          <a:p>
            <a:pPr algn="ctr"/>
            <a:r>
              <a:rPr lang="es-CL" sz="1050" dirty="0" smtClean="0"/>
              <a:t>Ventas</a:t>
            </a:r>
            <a:endParaRPr lang="en-US" sz="1050" dirty="0"/>
          </a:p>
        </p:txBody>
      </p:sp>
      <p:sp>
        <p:nvSpPr>
          <p:cNvPr id="28" name="Hexagon 27"/>
          <p:cNvSpPr/>
          <p:nvPr/>
        </p:nvSpPr>
        <p:spPr>
          <a:xfrm>
            <a:off x="2811907" y="2118615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Inventario</a:t>
            </a:r>
            <a:endParaRPr lang="en-US" sz="1100" dirty="0"/>
          </a:p>
        </p:txBody>
      </p:sp>
      <p:sp>
        <p:nvSpPr>
          <p:cNvPr id="31" name="Hexagon 30"/>
          <p:cNvSpPr/>
          <p:nvPr/>
        </p:nvSpPr>
        <p:spPr>
          <a:xfrm>
            <a:off x="286601" y="2096547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RRHH</a:t>
            </a:r>
            <a:endParaRPr lang="en-US" sz="1100" dirty="0"/>
          </a:p>
        </p:txBody>
      </p:sp>
      <p:sp>
        <p:nvSpPr>
          <p:cNvPr id="32" name="Hexagon 31"/>
          <p:cNvSpPr/>
          <p:nvPr/>
        </p:nvSpPr>
        <p:spPr>
          <a:xfrm>
            <a:off x="275223" y="3240356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Finanzas</a:t>
            </a:r>
            <a:endParaRPr lang="en-US" sz="1100" dirty="0"/>
          </a:p>
        </p:txBody>
      </p:sp>
      <p:sp>
        <p:nvSpPr>
          <p:cNvPr id="33" name="Hexagon 32"/>
          <p:cNvSpPr/>
          <p:nvPr/>
        </p:nvSpPr>
        <p:spPr>
          <a:xfrm>
            <a:off x="1525136" y="3798006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/>
              <a:t>Contabilidad</a:t>
            </a:r>
            <a:endParaRPr lang="en-US" sz="1100" dirty="0"/>
          </a:p>
        </p:txBody>
      </p:sp>
      <p:sp>
        <p:nvSpPr>
          <p:cNvPr id="34" name="Hexagon 33"/>
          <p:cNvSpPr/>
          <p:nvPr/>
        </p:nvSpPr>
        <p:spPr>
          <a:xfrm>
            <a:off x="1533040" y="2669061"/>
            <a:ext cx="1539930" cy="112809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2000" b="1" dirty="0" smtClean="0"/>
              <a:t>ERP</a:t>
            </a:r>
            <a:endParaRPr lang="en-US" sz="2000" b="1" dirty="0"/>
          </a:p>
        </p:txBody>
      </p:sp>
      <p:sp>
        <p:nvSpPr>
          <p:cNvPr id="19" name="Hexagon 18"/>
          <p:cNvSpPr/>
          <p:nvPr/>
        </p:nvSpPr>
        <p:spPr>
          <a:xfrm>
            <a:off x="2804597" y="3258892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0" name="Hexagon 19"/>
          <p:cNvSpPr/>
          <p:nvPr/>
        </p:nvSpPr>
        <p:spPr>
          <a:xfrm>
            <a:off x="2816472" y="2112460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1" name="Hexagon 20"/>
          <p:cNvSpPr/>
          <p:nvPr/>
        </p:nvSpPr>
        <p:spPr>
          <a:xfrm>
            <a:off x="1555833" y="1540962"/>
            <a:ext cx="1539930" cy="1128099"/>
          </a:xfrm>
          <a:prstGeom prst="hexagon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  <p:sp>
        <p:nvSpPr>
          <p:cNvPr id="24" name="Hexagon 23"/>
          <p:cNvSpPr/>
          <p:nvPr/>
        </p:nvSpPr>
        <p:spPr>
          <a:xfrm>
            <a:off x="5311005" y="2151566"/>
            <a:ext cx="1539930" cy="1128099"/>
          </a:xfrm>
          <a:prstGeom prst="hexagon">
            <a:avLst/>
          </a:prstGeom>
          <a:solidFill>
            <a:srgbClr val="00ADFA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050" dirty="0" smtClean="0"/>
              <a:t>TMS</a:t>
            </a:r>
            <a:endParaRPr lang="en-US" sz="1050" dirty="0"/>
          </a:p>
        </p:txBody>
      </p:sp>
      <p:sp>
        <p:nvSpPr>
          <p:cNvPr id="25" name="Hexagon 24"/>
          <p:cNvSpPr/>
          <p:nvPr/>
        </p:nvSpPr>
        <p:spPr>
          <a:xfrm>
            <a:off x="5349048" y="3325395"/>
            <a:ext cx="1539930" cy="1128099"/>
          </a:xfrm>
          <a:prstGeom prst="hexagon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400" b="1" dirty="0" smtClean="0"/>
              <a:t>GTM</a:t>
            </a:r>
          </a:p>
          <a:p>
            <a:pPr algn="ctr"/>
            <a:r>
              <a:rPr lang="es-CL" sz="1100" b="1" dirty="0" smtClean="0"/>
              <a:t>Global </a:t>
            </a:r>
            <a:r>
              <a:rPr lang="es-CL" sz="1100" b="1" dirty="0" err="1" smtClean="0"/>
              <a:t>Trade</a:t>
            </a:r>
            <a:r>
              <a:rPr lang="es-CL" sz="1100" b="1" dirty="0" smtClean="0"/>
              <a:t> Management</a:t>
            </a:r>
            <a:endParaRPr lang="en-US" sz="1400" b="1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pic>
        <p:nvPicPr>
          <p:cNvPr id="35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587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7421" y="5868537"/>
            <a:ext cx="8748215" cy="863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4265531395"/>
              </p:ext>
            </p:extLst>
          </p:nvPr>
        </p:nvGraphicFramePr>
        <p:xfrm>
          <a:off x="0" y="1028972"/>
          <a:ext cx="6254400" cy="5171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351072"/>
              </p:ext>
            </p:extLst>
          </p:nvPr>
        </p:nvGraphicFramePr>
        <p:xfrm>
          <a:off x="5714130" y="1513469"/>
          <a:ext cx="876229" cy="4370292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876229"/>
              </a:tblGrid>
              <a:tr h="257076">
                <a:tc>
                  <a:txBody>
                    <a:bodyPr/>
                    <a:lstStyle/>
                    <a:p>
                      <a:pPr algn="ctr"/>
                      <a:r>
                        <a:rPr lang="en-ZA" sz="1100" kern="1200" dirty="0" smtClean="0"/>
                        <a:t>Average</a:t>
                      </a:r>
                      <a:endParaRPr lang="en-ZA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5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4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4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3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0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9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8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7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.5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055" y="6200954"/>
            <a:ext cx="2371725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ounded Rectangular Callout 6"/>
          <p:cNvSpPr/>
          <p:nvPr/>
        </p:nvSpPr>
        <p:spPr>
          <a:xfrm>
            <a:off x="6767780" y="1665016"/>
            <a:ext cx="2226092" cy="1487605"/>
          </a:xfrm>
          <a:prstGeom prst="wedgeRoundRectCallout">
            <a:avLst>
              <a:gd name="adj1" fmla="val -56231"/>
              <a:gd name="adj2" fmla="val 37980"/>
              <a:gd name="adj3" fmla="val 16667"/>
            </a:avLst>
          </a:prstGeom>
          <a:solidFill>
            <a:srgbClr val="FF99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ZA" sz="1400" b="1" dirty="0" err="1" smtClean="0"/>
              <a:t>Documentación</a:t>
            </a:r>
            <a:r>
              <a:rPr lang="en-ZA" sz="1400" dirty="0" smtClean="0"/>
              <a:t> de Import/Export, </a:t>
            </a:r>
            <a:r>
              <a:rPr lang="en-ZA" sz="1400" b="1" dirty="0" err="1" smtClean="0"/>
              <a:t>Clasificación</a:t>
            </a:r>
            <a:r>
              <a:rPr lang="en-ZA" sz="1400" dirty="0" smtClean="0"/>
              <a:t> </a:t>
            </a:r>
            <a:r>
              <a:rPr lang="en-ZA" sz="1400" dirty="0" err="1" smtClean="0"/>
              <a:t>Arancelaria</a:t>
            </a:r>
            <a:r>
              <a:rPr lang="en-ZA" sz="1400" dirty="0" smtClean="0"/>
              <a:t> </a:t>
            </a:r>
            <a:r>
              <a:rPr lang="en-ZA" sz="1400" dirty="0" err="1" smtClean="0"/>
              <a:t>parecen</a:t>
            </a:r>
            <a:r>
              <a:rPr lang="en-ZA" sz="1400" dirty="0" smtClean="0"/>
              <a:t> </a:t>
            </a:r>
            <a:r>
              <a:rPr lang="en-ZA" sz="1400" dirty="0" err="1" smtClean="0"/>
              <a:t>concentrar</a:t>
            </a:r>
            <a:r>
              <a:rPr lang="en-ZA" sz="1400" dirty="0" smtClean="0"/>
              <a:t> el </a:t>
            </a:r>
            <a:r>
              <a:rPr lang="en-ZA" sz="1400" dirty="0" err="1" smtClean="0"/>
              <a:t>Tiempo</a:t>
            </a:r>
            <a:r>
              <a:rPr lang="en-ZA" sz="1400" dirty="0" smtClean="0"/>
              <a:t> y </a:t>
            </a:r>
            <a:r>
              <a:rPr lang="en-ZA" sz="1400" dirty="0" err="1" smtClean="0"/>
              <a:t>Recursos</a:t>
            </a:r>
            <a:r>
              <a:rPr lang="en-ZA" sz="1400" dirty="0" smtClean="0"/>
              <a:t>.</a:t>
            </a:r>
            <a:endParaRPr lang="en-ZA" sz="1400" dirty="0"/>
          </a:p>
        </p:txBody>
      </p:sp>
      <p:sp>
        <p:nvSpPr>
          <p:cNvPr id="18" name="Rounded Rectangular Callout 17"/>
          <p:cNvSpPr/>
          <p:nvPr/>
        </p:nvSpPr>
        <p:spPr>
          <a:xfrm>
            <a:off x="6767780" y="3207189"/>
            <a:ext cx="2226092" cy="1616164"/>
          </a:xfrm>
          <a:prstGeom prst="wedgeRoundRectCallout">
            <a:avLst>
              <a:gd name="adj1" fmla="val -56231"/>
              <a:gd name="adj2" fmla="val 37980"/>
              <a:gd name="adj3" fmla="val 16667"/>
            </a:avLst>
          </a:prstGeom>
          <a:solidFill>
            <a:srgbClr val="FF99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ZA" sz="1400" dirty="0" err="1" smtClean="0"/>
              <a:t>También</a:t>
            </a:r>
            <a:r>
              <a:rPr lang="en-ZA" sz="1400" dirty="0" smtClean="0"/>
              <a:t>, la </a:t>
            </a:r>
            <a:r>
              <a:rPr lang="en-ZA" sz="1400" dirty="0" err="1" smtClean="0"/>
              <a:t>gestión</a:t>
            </a:r>
            <a:r>
              <a:rPr lang="en-ZA" sz="1400" dirty="0" smtClean="0"/>
              <a:t> con </a:t>
            </a:r>
            <a:r>
              <a:rPr lang="en-ZA" sz="1400" b="1" dirty="0" err="1" smtClean="0"/>
              <a:t>Agentes</a:t>
            </a:r>
            <a:r>
              <a:rPr lang="en-ZA" sz="1400" b="1" dirty="0" smtClean="0"/>
              <a:t> </a:t>
            </a:r>
            <a:r>
              <a:rPr lang="en-ZA" sz="1400" b="1" dirty="0" err="1" smtClean="0"/>
              <a:t>Aduana</a:t>
            </a:r>
            <a:r>
              <a:rPr lang="en-ZA" sz="1400" dirty="0" smtClean="0"/>
              <a:t> y </a:t>
            </a:r>
            <a:r>
              <a:rPr lang="en-ZA" sz="1400" b="1" dirty="0" smtClean="0"/>
              <a:t>3PL </a:t>
            </a:r>
            <a:r>
              <a:rPr lang="en-ZA" sz="1400" dirty="0" err="1" smtClean="0"/>
              <a:t>representan</a:t>
            </a:r>
            <a:r>
              <a:rPr lang="en-ZA" sz="1400" dirty="0" smtClean="0"/>
              <a:t> de </a:t>
            </a:r>
            <a:r>
              <a:rPr lang="en-ZA" sz="1400" dirty="0" err="1" smtClean="0"/>
              <a:t>las</a:t>
            </a:r>
            <a:r>
              <a:rPr lang="en-ZA" sz="1400" dirty="0" smtClean="0"/>
              <a:t> mas </a:t>
            </a:r>
            <a:r>
              <a:rPr lang="en-ZA" sz="1400" dirty="0" err="1" smtClean="0"/>
              <a:t>frecuentes</a:t>
            </a:r>
            <a:r>
              <a:rPr lang="en-ZA" sz="1400" dirty="0" smtClean="0"/>
              <a:t> </a:t>
            </a:r>
            <a:r>
              <a:rPr lang="en-ZA" sz="1400" dirty="0" err="1" smtClean="0"/>
              <a:t>actividades</a:t>
            </a:r>
            <a:r>
              <a:rPr lang="en-ZA" sz="1400" dirty="0" smtClean="0"/>
              <a:t>  en </a:t>
            </a:r>
            <a:r>
              <a:rPr lang="en-ZA" sz="1400" dirty="0" err="1" smtClean="0"/>
              <a:t>todas</a:t>
            </a:r>
            <a:r>
              <a:rPr lang="en-ZA" sz="1400" dirty="0" smtClean="0"/>
              <a:t> </a:t>
            </a:r>
            <a:r>
              <a:rPr lang="en-ZA" sz="1400" dirty="0" err="1" smtClean="0"/>
              <a:t>las</a:t>
            </a:r>
            <a:r>
              <a:rPr lang="en-ZA" sz="1400" dirty="0" smtClean="0"/>
              <a:t> </a:t>
            </a:r>
            <a:r>
              <a:rPr lang="en-ZA" sz="1400" dirty="0" err="1" smtClean="0"/>
              <a:t>Regiones</a:t>
            </a:r>
            <a:r>
              <a:rPr lang="en-ZA" sz="1400" dirty="0" smtClean="0"/>
              <a:t> </a:t>
            </a:r>
            <a:r>
              <a:rPr lang="en-ZA" sz="1400" dirty="0" err="1" smtClean="0"/>
              <a:t>excepto</a:t>
            </a:r>
            <a:r>
              <a:rPr lang="en-ZA" sz="1400" dirty="0" smtClean="0"/>
              <a:t> East </a:t>
            </a:r>
            <a:r>
              <a:rPr lang="en-ZA" sz="1400" dirty="0"/>
              <a:t>Asia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6767780" y="4877945"/>
            <a:ext cx="2226092" cy="1004243"/>
          </a:xfrm>
          <a:prstGeom prst="wedgeRoundRectCallout">
            <a:avLst>
              <a:gd name="adj1" fmla="val -56231"/>
              <a:gd name="adj2" fmla="val 37980"/>
              <a:gd name="adj3" fmla="val 16667"/>
            </a:avLst>
          </a:prstGeom>
          <a:solidFill>
            <a:srgbClr val="FF993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ZA" sz="1400" dirty="0" smtClean="0"/>
              <a:t>La </a:t>
            </a:r>
            <a:r>
              <a:rPr lang="en-ZA" sz="1400" b="1" dirty="0" err="1" smtClean="0"/>
              <a:t>Valoración</a:t>
            </a:r>
            <a:r>
              <a:rPr lang="en-ZA" sz="1400" b="1" dirty="0" smtClean="0"/>
              <a:t> </a:t>
            </a:r>
            <a:r>
              <a:rPr lang="en-ZA" sz="1400" b="1" dirty="0" err="1" smtClean="0"/>
              <a:t>Aduanera</a:t>
            </a:r>
            <a:r>
              <a:rPr lang="en-ZA" sz="1400" b="1" dirty="0" smtClean="0"/>
              <a:t> </a:t>
            </a:r>
            <a:r>
              <a:rPr lang="en-ZA" sz="1400" dirty="0" err="1" smtClean="0"/>
              <a:t>es</a:t>
            </a:r>
            <a:r>
              <a:rPr lang="en-ZA" sz="1400" dirty="0" smtClean="0"/>
              <a:t> un </a:t>
            </a:r>
            <a:r>
              <a:rPr lang="en-ZA" sz="1400" dirty="0" err="1" smtClean="0"/>
              <a:t>problema</a:t>
            </a:r>
            <a:r>
              <a:rPr lang="en-ZA" sz="1400" dirty="0" smtClean="0"/>
              <a:t> en </a:t>
            </a:r>
            <a:r>
              <a:rPr lang="en-ZA" sz="1400" b="1" dirty="0"/>
              <a:t>LATAM</a:t>
            </a:r>
            <a:r>
              <a:rPr lang="en-ZA" sz="1400" dirty="0"/>
              <a:t> </a:t>
            </a:r>
            <a:r>
              <a:rPr lang="en-ZA" sz="1400" dirty="0" smtClean="0"/>
              <a:t>y East Asia </a:t>
            </a:r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val="363152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8" grpId="0" animBg="1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95" y="2450873"/>
            <a:ext cx="3766784" cy="3261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143906" y="2112319"/>
            <a:ext cx="1876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800" dirty="0" smtClean="0"/>
              <a:t>Fuente:  Global </a:t>
            </a:r>
            <a:r>
              <a:rPr lang="es-CL" sz="800" dirty="0" err="1" smtClean="0"/>
              <a:t>Trade</a:t>
            </a:r>
            <a:r>
              <a:rPr lang="es-CL" sz="800" dirty="0" smtClean="0"/>
              <a:t> </a:t>
            </a:r>
            <a:r>
              <a:rPr lang="es-CL" sz="800" dirty="0" err="1" smtClean="0"/>
              <a:t>Survey</a:t>
            </a:r>
            <a:r>
              <a:rPr lang="es-CL" sz="800" dirty="0" smtClean="0"/>
              <a:t> </a:t>
            </a:r>
            <a:r>
              <a:rPr lang="es-CL" sz="800" dirty="0" smtClean="0"/>
              <a:t>2016. </a:t>
            </a:r>
            <a:r>
              <a:rPr lang="es-CL" sz="800" dirty="0" smtClean="0"/>
              <a:t>KPMG y Thomson Reuters</a:t>
            </a:r>
            <a:endParaRPr lang="en-US" sz="800" dirty="0"/>
          </a:p>
        </p:txBody>
      </p:sp>
      <p:sp>
        <p:nvSpPr>
          <p:cNvPr id="3" name="TextBox 2"/>
          <p:cNvSpPr txBox="1"/>
          <p:nvPr/>
        </p:nvSpPr>
        <p:spPr>
          <a:xfrm>
            <a:off x="133029" y="1136024"/>
            <a:ext cx="21597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dirty="0" smtClean="0">
                <a:solidFill>
                  <a:schemeClr val="bg1">
                    <a:lumMod val="65000"/>
                  </a:schemeClr>
                </a:solidFill>
              </a:rPr>
              <a:t>COMO LO REALIZAN?</a:t>
            </a:r>
            <a:endParaRPr lang="en-US" sz="2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17127" y="2785292"/>
            <a:ext cx="398334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 smtClean="0">
                <a:solidFill>
                  <a:schemeClr val="bg1">
                    <a:lumMod val="65000"/>
                  </a:schemeClr>
                </a:solidFill>
              </a:rPr>
              <a:t>RIESGOS PRESENTES:</a:t>
            </a: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Vulnerabilidad de Procesos y Datos Manuales </a:t>
            </a: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Duplicidad de Información y Tareas</a:t>
            </a: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Control y Previsibilidad de Gastos</a:t>
            </a: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Visibilidad del Proceso </a:t>
            </a:r>
            <a:r>
              <a:rPr lang="es-CL" sz="1400" dirty="0" err="1" smtClean="0">
                <a:solidFill>
                  <a:schemeClr val="bg1">
                    <a:lumMod val="65000"/>
                  </a:schemeClr>
                </a:solidFill>
              </a:rPr>
              <a:t>end-to-end</a:t>
            </a:r>
            <a:endParaRPr lang="es-CL" sz="1400" dirty="0" smtClean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Autonomía e Inmediatez de la Información</a:t>
            </a:r>
          </a:p>
          <a:p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Dependencia para generación de </a:t>
            </a:r>
            <a:r>
              <a:rPr lang="es-CL" sz="1400" dirty="0" err="1" smtClean="0">
                <a:solidFill>
                  <a:schemeClr val="bg1">
                    <a:lumMod val="65000"/>
                  </a:schemeClr>
                </a:solidFill>
              </a:rPr>
              <a:t>Reporteria</a:t>
            </a:r>
            <a:r>
              <a:rPr lang="es-CL" sz="14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712" y="2985465"/>
            <a:ext cx="353733" cy="1377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pic>
        <p:nvPicPr>
          <p:cNvPr id="40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97" y="6131470"/>
            <a:ext cx="1847850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290079" y="1160502"/>
            <a:ext cx="3278215" cy="93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Oval 10"/>
          <p:cNvSpPr/>
          <p:nvPr/>
        </p:nvSpPr>
        <p:spPr>
          <a:xfrm>
            <a:off x="4885691" y="1312984"/>
            <a:ext cx="657540" cy="6575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2000" b="1" dirty="0" smtClean="0">
                <a:solidFill>
                  <a:srgbClr val="FF9933"/>
                </a:solidFill>
              </a:rPr>
              <a:t>34</a:t>
            </a:r>
            <a:r>
              <a:rPr lang="en-ZA" sz="1600" b="1" dirty="0" smtClean="0">
                <a:solidFill>
                  <a:srgbClr val="FF9933"/>
                </a:solidFill>
              </a:rPr>
              <a:t>%</a:t>
            </a:r>
            <a:endParaRPr lang="en-ZA" b="1" dirty="0">
              <a:solidFill>
                <a:srgbClr val="FF993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24102" y="1770933"/>
            <a:ext cx="9653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 smtClean="0"/>
              <a:t>YES</a:t>
            </a:r>
            <a:endParaRPr lang="en-ZA" sz="800" b="1" dirty="0"/>
          </a:p>
        </p:txBody>
      </p:sp>
      <p:sp>
        <p:nvSpPr>
          <p:cNvPr id="13" name="Rectangle 12"/>
          <p:cNvSpPr/>
          <p:nvPr/>
        </p:nvSpPr>
        <p:spPr>
          <a:xfrm>
            <a:off x="2296024" y="1147712"/>
            <a:ext cx="25896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ZA" sz="1600" b="1" dirty="0" smtClean="0"/>
              <a:t>GTMS Utilization </a:t>
            </a:r>
          </a:p>
          <a:p>
            <a:pPr lvl="0" algn="ctr"/>
            <a:r>
              <a:rPr lang="en-ZA" sz="1000" dirty="0" smtClean="0"/>
              <a:t>Q16. Does </a:t>
            </a:r>
            <a:r>
              <a:rPr lang="en-ZA" sz="1000" dirty="0"/>
              <a:t>your organization currently utilize a global </a:t>
            </a:r>
            <a:r>
              <a:rPr lang="en-ZA" sz="1000"/>
              <a:t>trade </a:t>
            </a:r>
            <a:r>
              <a:rPr lang="en-ZA" sz="1000" smtClean="0"/>
              <a:t>management </a:t>
            </a:r>
            <a:r>
              <a:rPr lang="en-ZA" sz="1000" dirty="0"/>
              <a:t>system (GTMS) for any aspect of import / export activities?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644980" y="1163730"/>
            <a:ext cx="3375588" cy="93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5" name="Oval 14"/>
          <p:cNvSpPr/>
          <p:nvPr/>
        </p:nvSpPr>
        <p:spPr>
          <a:xfrm>
            <a:off x="8253844" y="1302960"/>
            <a:ext cx="657540" cy="6575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2000" b="1" dirty="0" smtClean="0">
                <a:solidFill>
                  <a:srgbClr val="FF9933"/>
                </a:solidFill>
              </a:rPr>
              <a:t>40</a:t>
            </a:r>
            <a:r>
              <a:rPr lang="en-ZA" sz="1600" b="1" dirty="0" smtClean="0">
                <a:solidFill>
                  <a:srgbClr val="FF9933"/>
                </a:solidFill>
              </a:rPr>
              <a:t>%</a:t>
            </a:r>
            <a:endParaRPr lang="en-ZA" b="1" dirty="0">
              <a:solidFill>
                <a:srgbClr val="FF9933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400238" y="1782527"/>
            <a:ext cx="9653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800" b="1" dirty="0" smtClean="0"/>
              <a:t>YES</a:t>
            </a:r>
            <a:endParaRPr lang="en-ZA" sz="800" b="1" dirty="0"/>
          </a:p>
        </p:txBody>
      </p:sp>
      <p:sp>
        <p:nvSpPr>
          <p:cNvPr id="17" name="Rectangle 16"/>
          <p:cNvSpPr/>
          <p:nvPr/>
        </p:nvSpPr>
        <p:spPr>
          <a:xfrm>
            <a:off x="5644980" y="1160503"/>
            <a:ext cx="25896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ZA" sz="1600" b="1" dirty="0" smtClean="0"/>
              <a:t>GTMS on topic</a:t>
            </a:r>
          </a:p>
          <a:p>
            <a:pPr lvl="0" algn="ctr"/>
            <a:r>
              <a:rPr lang="en-ZA" sz="1000" dirty="0" smtClean="0"/>
              <a:t>Q22. Have </a:t>
            </a:r>
            <a:r>
              <a:rPr lang="en-ZA" sz="1000" dirty="0"/>
              <a:t>you attended any conferences, </a:t>
            </a:r>
            <a:r>
              <a:rPr lang="en-ZA" sz="1000" dirty="0" smtClean="0"/>
              <a:t>webinars</a:t>
            </a:r>
            <a:r>
              <a:rPr lang="en-ZA" sz="1000" dirty="0"/>
              <a:t>, demos, or presentations where </a:t>
            </a:r>
            <a:r>
              <a:rPr lang="en-ZA" sz="1000" dirty="0" smtClean="0"/>
              <a:t>GTMS </a:t>
            </a:r>
            <a:r>
              <a:rPr lang="en-ZA" sz="1000" dirty="0"/>
              <a:t>were a topic of discussion during the last 12 months?</a:t>
            </a:r>
          </a:p>
        </p:txBody>
      </p:sp>
      <p:sp>
        <p:nvSpPr>
          <p:cNvPr id="2" name="Rounded Rectangular Callout 1"/>
          <p:cNvSpPr/>
          <p:nvPr/>
        </p:nvSpPr>
        <p:spPr>
          <a:xfrm>
            <a:off x="3781026" y="4648085"/>
            <a:ext cx="1520070" cy="961145"/>
          </a:xfrm>
          <a:prstGeom prst="wedgeRoundRectCallout">
            <a:avLst>
              <a:gd name="adj1" fmla="val -21800"/>
              <a:gd name="adj2" fmla="val 64460"/>
              <a:gd name="adj3" fmla="val 16667"/>
            </a:avLst>
          </a:prstGeom>
          <a:solidFill>
            <a:srgbClr val="FABE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b="1" dirty="0" smtClean="0"/>
              <a:t>Uso </a:t>
            </a:r>
            <a:r>
              <a:rPr lang="es-CL" sz="1600" b="1" dirty="0" err="1" smtClean="0"/>
              <a:t>GTMs</a:t>
            </a:r>
            <a:r>
              <a:rPr lang="es-CL" sz="1600" b="1" dirty="0" smtClean="0"/>
              <a:t>?</a:t>
            </a:r>
            <a:r>
              <a:rPr lang="es-CL" sz="1600" dirty="0" smtClean="0"/>
              <a:t> </a:t>
            </a:r>
          </a:p>
          <a:p>
            <a:r>
              <a:rPr lang="es-CL" sz="1200" b="1" dirty="0" smtClean="0"/>
              <a:t>   42%</a:t>
            </a:r>
            <a:r>
              <a:rPr lang="es-CL" sz="1200" dirty="0" smtClean="0"/>
              <a:t> US</a:t>
            </a:r>
          </a:p>
          <a:p>
            <a:r>
              <a:rPr lang="es-CL" sz="1200" b="1" dirty="0" smtClean="0"/>
              <a:t>   39%</a:t>
            </a:r>
            <a:r>
              <a:rPr lang="es-CL" sz="1200" dirty="0" smtClean="0"/>
              <a:t> LATAM</a:t>
            </a:r>
            <a:endParaRPr lang="en-US" sz="1600" dirty="0"/>
          </a:p>
        </p:txBody>
      </p:sp>
      <p:sp>
        <p:nvSpPr>
          <p:cNvPr id="22" name="Rounded Rectangular Callout 21"/>
          <p:cNvSpPr/>
          <p:nvPr/>
        </p:nvSpPr>
        <p:spPr>
          <a:xfrm>
            <a:off x="5325522" y="4650357"/>
            <a:ext cx="1520070" cy="961145"/>
          </a:xfrm>
          <a:prstGeom prst="wedgeRoundRectCallout">
            <a:avLst>
              <a:gd name="adj1" fmla="val -21800"/>
              <a:gd name="adj2" fmla="val 64460"/>
              <a:gd name="adj3" fmla="val 16667"/>
            </a:avLst>
          </a:prstGeom>
          <a:solidFill>
            <a:srgbClr val="FABE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b="1" dirty="0" smtClean="0"/>
              <a:t>Hot </a:t>
            </a:r>
            <a:r>
              <a:rPr lang="es-CL" sz="1600" b="1" dirty="0" err="1" smtClean="0"/>
              <a:t>Topic</a:t>
            </a:r>
            <a:r>
              <a:rPr lang="es-CL" sz="1600" b="1" dirty="0" smtClean="0"/>
              <a:t>?</a:t>
            </a:r>
            <a:endParaRPr lang="es-CL" sz="1600" b="1" dirty="0"/>
          </a:p>
          <a:p>
            <a:r>
              <a:rPr lang="es-CL" sz="1200" b="1" dirty="0" smtClean="0"/>
              <a:t>    58%</a:t>
            </a:r>
            <a:r>
              <a:rPr lang="es-CL" sz="1200" dirty="0" smtClean="0"/>
              <a:t> US</a:t>
            </a:r>
          </a:p>
          <a:p>
            <a:r>
              <a:rPr lang="es-CL" sz="1200" b="1" dirty="0" smtClean="0"/>
              <a:t>    37%</a:t>
            </a:r>
            <a:r>
              <a:rPr lang="es-CL" sz="1200" dirty="0" smtClean="0"/>
              <a:t> LATAM</a:t>
            </a:r>
            <a:endParaRPr lang="en-US" sz="1600" dirty="0"/>
          </a:p>
        </p:txBody>
      </p:sp>
      <p:sp>
        <p:nvSpPr>
          <p:cNvPr id="23" name="Rounded Rectangular Callout 22"/>
          <p:cNvSpPr/>
          <p:nvPr/>
        </p:nvSpPr>
        <p:spPr>
          <a:xfrm>
            <a:off x="6883665" y="4652629"/>
            <a:ext cx="1603413" cy="961145"/>
          </a:xfrm>
          <a:prstGeom prst="wedgeRoundRectCallout">
            <a:avLst>
              <a:gd name="adj1" fmla="val -21800"/>
              <a:gd name="adj2" fmla="val 64460"/>
              <a:gd name="adj3" fmla="val 16667"/>
            </a:avLst>
          </a:prstGeom>
          <a:solidFill>
            <a:srgbClr val="FABE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600" b="1" dirty="0" smtClean="0"/>
              <a:t>Porque NO?</a:t>
            </a:r>
            <a:endParaRPr lang="es-CL" sz="1600" b="1" dirty="0"/>
          </a:p>
          <a:p>
            <a:r>
              <a:rPr lang="es-CL" sz="1200" b="1" dirty="0" smtClean="0"/>
              <a:t>22%</a:t>
            </a:r>
            <a:r>
              <a:rPr lang="es-CL" sz="1200" dirty="0" smtClean="0"/>
              <a:t> no sabia   </a:t>
            </a:r>
          </a:p>
          <a:p>
            <a:r>
              <a:rPr lang="es-CL" sz="1200" b="1" dirty="0" smtClean="0"/>
              <a:t>21%</a:t>
            </a:r>
            <a:r>
              <a:rPr lang="es-CL" sz="1200" dirty="0" smtClean="0"/>
              <a:t> sin </a:t>
            </a:r>
            <a:r>
              <a:rPr lang="es-CL" sz="1200" dirty="0" err="1" smtClean="0"/>
              <a:t>Ppto</a:t>
            </a:r>
            <a:endParaRPr lang="es-CL" sz="1200" dirty="0" smtClean="0"/>
          </a:p>
          <a:p>
            <a:r>
              <a:rPr lang="es-CL" sz="1200" b="1" dirty="0" smtClean="0"/>
              <a:t>14%</a:t>
            </a:r>
            <a:r>
              <a:rPr lang="es-CL" sz="1200" dirty="0" smtClean="0"/>
              <a:t> muchos </a:t>
            </a:r>
            <a:r>
              <a:rPr lang="es-CL" sz="1200" dirty="0" err="1" smtClean="0"/>
              <a:t>ERP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764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2" grpId="0" animBg="1"/>
      <p:bldP spid="2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77421" y="5868537"/>
            <a:ext cx="8748215" cy="863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0776" y="6300041"/>
            <a:ext cx="2371725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358078" y="96253"/>
            <a:ext cx="7369175" cy="767457"/>
          </a:xfrm>
        </p:spPr>
        <p:txBody>
          <a:bodyPr/>
          <a:lstStyle/>
          <a:p>
            <a:r>
              <a:rPr lang="en-US" dirty="0" smtClean="0"/>
              <a:t>ERPs en la </a:t>
            </a:r>
            <a:r>
              <a:rPr lang="en-US" dirty="0" err="1" smtClean="0"/>
              <a:t>Gestión</a:t>
            </a:r>
            <a:r>
              <a:rPr lang="en-US" dirty="0" smtClean="0"/>
              <a:t> de </a:t>
            </a:r>
            <a:r>
              <a:rPr lang="en-US" dirty="0" err="1" smtClean="0"/>
              <a:t>Comercio</a:t>
            </a:r>
            <a:r>
              <a:rPr lang="en-US" dirty="0" smtClean="0"/>
              <a:t> Exterior</a:t>
            </a:r>
            <a:endParaRPr lang="en-US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697613518"/>
              </p:ext>
            </p:extLst>
          </p:nvPr>
        </p:nvGraphicFramePr>
        <p:xfrm>
          <a:off x="93998" y="931760"/>
          <a:ext cx="5957468" cy="5171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849005"/>
              </p:ext>
            </p:extLst>
          </p:nvPr>
        </p:nvGraphicFramePr>
        <p:xfrm>
          <a:off x="5868298" y="1447653"/>
          <a:ext cx="876229" cy="4370292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876229"/>
              </a:tblGrid>
              <a:tr h="257076">
                <a:tc>
                  <a:txBody>
                    <a:bodyPr/>
                    <a:lstStyle/>
                    <a:p>
                      <a:pPr algn="ctr"/>
                      <a:r>
                        <a:rPr lang="en-ZA" sz="1100" dirty="0" smtClean="0"/>
                        <a:t>Average</a:t>
                      </a:r>
                      <a:endParaRPr lang="en-ZA" sz="1100" b="1" dirty="0"/>
                    </a:p>
                  </a:txBody>
                  <a:tcPr marT="0" marB="0" anchor="ctr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3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3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1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3.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9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9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7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25707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.6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6649408" y="1945622"/>
            <a:ext cx="2426352" cy="287203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ZA" sz="2000" b="1" dirty="0" smtClean="0">
                <a:solidFill>
                  <a:schemeClr val="accent1"/>
                </a:solidFill>
              </a:rPr>
              <a:t>LAT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400" dirty="0" err="1" smtClean="0">
                <a:solidFill>
                  <a:schemeClr val="tx1"/>
                </a:solidFill>
              </a:rPr>
              <a:t>Clasificación</a:t>
            </a:r>
            <a:r>
              <a:rPr lang="en-ZA" sz="1400" dirty="0" smtClean="0">
                <a:solidFill>
                  <a:schemeClr val="tx1"/>
                </a:solidFill>
              </a:rPr>
              <a:t> de </a:t>
            </a:r>
            <a:r>
              <a:rPr lang="en-ZA" sz="1400" dirty="0" err="1" smtClean="0">
                <a:solidFill>
                  <a:schemeClr val="tx1"/>
                </a:solidFill>
              </a:rPr>
              <a:t>Productos</a:t>
            </a:r>
            <a:endParaRPr lang="en-ZA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400" dirty="0" err="1" smtClean="0">
                <a:solidFill>
                  <a:schemeClr val="tx1"/>
                </a:solidFill>
              </a:rPr>
              <a:t>Documentación</a:t>
            </a:r>
            <a:r>
              <a:rPr lang="en-ZA" sz="1400" dirty="0" smtClean="0">
                <a:solidFill>
                  <a:schemeClr val="tx1"/>
                </a:solidFill>
              </a:rPr>
              <a:t> y </a:t>
            </a:r>
            <a:r>
              <a:rPr lang="en-ZA" sz="1400" dirty="0" err="1" smtClean="0">
                <a:solidFill>
                  <a:schemeClr val="tx1"/>
                </a:solidFill>
              </a:rPr>
              <a:t>Licencias</a:t>
            </a:r>
            <a:r>
              <a:rPr lang="en-ZA" sz="1400" dirty="0" smtClean="0">
                <a:solidFill>
                  <a:schemeClr val="tx1"/>
                </a:solidFill>
              </a:rPr>
              <a:t> de </a:t>
            </a:r>
            <a:r>
              <a:rPr lang="en-ZA" sz="1400" dirty="0" err="1" smtClean="0">
                <a:solidFill>
                  <a:schemeClr val="tx1"/>
                </a:solidFill>
              </a:rPr>
              <a:t>Importación</a:t>
            </a:r>
            <a:endParaRPr lang="en-ZA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400" dirty="0" err="1" smtClean="0">
                <a:solidFill>
                  <a:schemeClr val="tx1"/>
                </a:solidFill>
              </a:rPr>
              <a:t>Valoración</a:t>
            </a:r>
            <a:r>
              <a:rPr lang="en-ZA" sz="1400" dirty="0" smtClean="0">
                <a:solidFill>
                  <a:schemeClr val="tx1"/>
                </a:solidFill>
              </a:rPr>
              <a:t> </a:t>
            </a:r>
            <a:r>
              <a:rPr lang="en-ZA" sz="1400" dirty="0" err="1" smtClean="0">
                <a:solidFill>
                  <a:schemeClr val="tx1"/>
                </a:solidFill>
              </a:rPr>
              <a:t>Aduanera</a:t>
            </a:r>
            <a:endParaRPr lang="en-ZA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400" dirty="0" err="1" smtClean="0">
                <a:solidFill>
                  <a:schemeClr val="tx1"/>
                </a:solidFill>
              </a:rPr>
              <a:t>Precios</a:t>
            </a:r>
            <a:r>
              <a:rPr lang="en-ZA" sz="1400" dirty="0" smtClean="0">
                <a:solidFill>
                  <a:schemeClr val="tx1"/>
                </a:solidFill>
              </a:rPr>
              <a:t> de </a:t>
            </a:r>
            <a:r>
              <a:rPr lang="en-ZA" sz="1400" dirty="0" err="1" smtClean="0">
                <a:solidFill>
                  <a:schemeClr val="tx1"/>
                </a:solidFill>
              </a:rPr>
              <a:t>Transferencia</a:t>
            </a:r>
            <a:r>
              <a:rPr lang="en-ZA" sz="1400" dirty="0" smtClean="0">
                <a:solidFill>
                  <a:schemeClr val="tx1"/>
                </a:solidFill>
              </a:rPr>
              <a:t> en </a:t>
            </a:r>
            <a:r>
              <a:rPr lang="en-ZA" sz="1400" dirty="0" err="1" smtClean="0">
                <a:solidFill>
                  <a:schemeClr val="tx1"/>
                </a:solidFill>
              </a:rPr>
              <a:t>operaciones</a:t>
            </a:r>
            <a:r>
              <a:rPr lang="en-ZA" sz="1400" dirty="0" smtClean="0">
                <a:solidFill>
                  <a:schemeClr val="tx1"/>
                </a:solidFill>
              </a:rPr>
              <a:t> Intercompany </a:t>
            </a:r>
            <a:endParaRPr lang="en-ZA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400" dirty="0" err="1" smtClean="0">
                <a:solidFill>
                  <a:schemeClr val="tx1"/>
                </a:solidFill>
              </a:rPr>
              <a:t>Documentación</a:t>
            </a:r>
            <a:r>
              <a:rPr lang="en-ZA" sz="1400" dirty="0" smtClean="0">
                <a:solidFill>
                  <a:schemeClr val="tx1"/>
                </a:solidFill>
              </a:rPr>
              <a:t> </a:t>
            </a:r>
            <a:r>
              <a:rPr lang="en-ZA" sz="1400" dirty="0">
                <a:solidFill>
                  <a:schemeClr val="tx1"/>
                </a:solidFill>
              </a:rPr>
              <a:t>y </a:t>
            </a:r>
            <a:r>
              <a:rPr lang="en-ZA" sz="1400" dirty="0" err="1">
                <a:solidFill>
                  <a:schemeClr val="tx1"/>
                </a:solidFill>
              </a:rPr>
              <a:t>Licencias</a:t>
            </a:r>
            <a:r>
              <a:rPr lang="en-ZA" sz="1400" dirty="0">
                <a:solidFill>
                  <a:schemeClr val="tx1"/>
                </a:solidFill>
              </a:rPr>
              <a:t> de </a:t>
            </a:r>
            <a:r>
              <a:rPr lang="en-ZA" sz="1400" dirty="0" err="1" smtClean="0">
                <a:solidFill>
                  <a:schemeClr val="tx1"/>
                </a:solidFill>
              </a:rPr>
              <a:t>Exportación</a:t>
            </a:r>
            <a:endParaRPr lang="en-ZA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4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CONTAIN_GUIDS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YfQ3hOw0ea2v8LNV8q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ax0.Sq06.w2FsNKLu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5nNKWOn0.mbnV0sPZ9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hVo.rqkEaHx2yeyCIk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PCHiSdukmnv.qxPlJN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f479ffe6-f43c-44b7-9693-c39aa5a8a01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q1D5jvtkGU4jLfmmyW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8BH1KbUE.fXiCR_Poq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J6seSXUmwyJ_c58ZY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pn8RsBFkOa.7Pij2kQ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qBbivlV0uV8heZzmUl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rcztR2G0CLSza33vsV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WhigBEtkqbtzWQLoLAVA"/>
</p:tagLst>
</file>

<file path=ppt/theme/theme1.xml><?xml version="1.0" encoding="utf-8"?>
<a:theme xmlns:a="http://schemas.openxmlformats.org/drawingml/2006/main" name="Simplified Chinese">
  <a:themeElements>
    <a:clrScheme name="SC PPT v2 1">
      <a:dk1>
        <a:srgbClr val="4B4B4B"/>
      </a:dk1>
      <a:lt1>
        <a:srgbClr val="FFFFFF"/>
      </a:lt1>
      <a:dk2>
        <a:srgbClr val="FF8000"/>
      </a:dk2>
      <a:lt2>
        <a:srgbClr val="A0968C"/>
      </a:lt2>
      <a:accent1>
        <a:srgbClr val="005A84"/>
      </a:accent1>
      <a:accent2>
        <a:srgbClr val="6234A4"/>
      </a:accent2>
      <a:accent3>
        <a:srgbClr val="FFFFFF"/>
      </a:accent3>
      <a:accent4>
        <a:srgbClr val="3F3F3F"/>
      </a:accent4>
      <a:accent5>
        <a:srgbClr val="AAB5C2"/>
      </a:accent5>
      <a:accent6>
        <a:srgbClr val="582E94"/>
      </a:accent6>
      <a:hlink>
        <a:srgbClr val="828282"/>
      </a:hlink>
      <a:folHlink>
        <a:srgbClr val="BABABA"/>
      </a:folHlink>
    </a:clrScheme>
    <a:fontScheme name="SC PPT v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C PPT v2 1">
        <a:dk1>
          <a:srgbClr val="4B4B4B"/>
        </a:dk1>
        <a:lt1>
          <a:srgbClr val="FFFFFF"/>
        </a:lt1>
        <a:dk2>
          <a:srgbClr val="FF8000"/>
        </a:dk2>
        <a:lt2>
          <a:srgbClr val="A0968C"/>
        </a:lt2>
        <a:accent1>
          <a:srgbClr val="005A84"/>
        </a:accent1>
        <a:accent2>
          <a:srgbClr val="6234A4"/>
        </a:accent2>
        <a:accent3>
          <a:srgbClr val="FFFFFF"/>
        </a:accent3>
        <a:accent4>
          <a:srgbClr val="3F3F3F"/>
        </a:accent4>
        <a:accent5>
          <a:srgbClr val="AAB5C2"/>
        </a:accent5>
        <a:accent6>
          <a:srgbClr val="582E94"/>
        </a:accent6>
        <a:hlink>
          <a:srgbClr val="828282"/>
        </a:hlink>
        <a:folHlink>
          <a:srgbClr val="BABA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 PPT v2 2">
        <a:dk1>
          <a:srgbClr val="4B4B4B"/>
        </a:dk1>
        <a:lt1>
          <a:srgbClr val="FFFFFF"/>
        </a:lt1>
        <a:dk2>
          <a:srgbClr val="FF8000"/>
        </a:dk2>
        <a:lt2>
          <a:srgbClr val="BABABA"/>
        </a:lt2>
        <a:accent1>
          <a:srgbClr val="78A22F"/>
        </a:accent1>
        <a:accent2>
          <a:srgbClr val="FFB400"/>
        </a:accent2>
        <a:accent3>
          <a:srgbClr val="FFFFFF"/>
        </a:accent3>
        <a:accent4>
          <a:srgbClr val="3F3F3F"/>
        </a:accent4>
        <a:accent5>
          <a:srgbClr val="BECEAD"/>
        </a:accent5>
        <a:accent6>
          <a:srgbClr val="E7A300"/>
        </a:accent6>
        <a:hlink>
          <a:srgbClr val="766C62"/>
        </a:hlink>
        <a:folHlink>
          <a:srgbClr val="A096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 PPT v2 3">
        <a:dk1>
          <a:srgbClr val="4B4B4B"/>
        </a:dk1>
        <a:lt1>
          <a:srgbClr val="FFFFFF"/>
        </a:lt1>
        <a:dk2>
          <a:srgbClr val="FF8000"/>
        </a:dk2>
        <a:lt2>
          <a:srgbClr val="BABABA"/>
        </a:lt2>
        <a:accent1>
          <a:srgbClr val="766C62"/>
        </a:accent1>
        <a:accent2>
          <a:srgbClr val="A0968C"/>
        </a:accent2>
        <a:accent3>
          <a:srgbClr val="FFFFFF"/>
        </a:accent3>
        <a:accent4>
          <a:srgbClr val="3F3F3F"/>
        </a:accent4>
        <a:accent5>
          <a:srgbClr val="BDBAB7"/>
        </a:accent5>
        <a:accent6>
          <a:srgbClr val="91877E"/>
        </a:accent6>
        <a:hlink>
          <a:srgbClr val="0083BF"/>
        </a:hlink>
        <a:folHlink>
          <a:srgbClr val="78A22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 PPT v2 4">
        <a:dk1>
          <a:srgbClr val="4B4B4B"/>
        </a:dk1>
        <a:lt1>
          <a:srgbClr val="FFFFFF"/>
        </a:lt1>
        <a:dk2>
          <a:srgbClr val="FF8000"/>
        </a:dk2>
        <a:lt2>
          <a:srgbClr val="A0968C"/>
        </a:lt2>
        <a:accent1>
          <a:srgbClr val="FF8000"/>
        </a:accent1>
        <a:accent2>
          <a:srgbClr val="DC0A0A"/>
        </a:accent2>
        <a:accent3>
          <a:srgbClr val="FFFFFF"/>
        </a:accent3>
        <a:accent4>
          <a:srgbClr val="3F3F3F"/>
        </a:accent4>
        <a:accent5>
          <a:srgbClr val="FFC0AA"/>
        </a:accent5>
        <a:accent6>
          <a:srgbClr val="C70808"/>
        </a:accent6>
        <a:hlink>
          <a:srgbClr val="766C62"/>
        </a:hlink>
        <a:folHlink>
          <a:srgbClr val="A096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 PPT v2 5">
        <a:dk1>
          <a:srgbClr val="A0968C"/>
        </a:dk1>
        <a:lt1>
          <a:srgbClr val="FFFFFF"/>
        </a:lt1>
        <a:dk2>
          <a:srgbClr val="5F5F5F"/>
        </a:dk2>
        <a:lt2>
          <a:srgbClr val="FFFFFF"/>
        </a:lt2>
        <a:accent1>
          <a:srgbClr val="005A84"/>
        </a:accent1>
        <a:accent2>
          <a:srgbClr val="6234A4"/>
        </a:accent2>
        <a:accent3>
          <a:srgbClr val="B6B6B6"/>
        </a:accent3>
        <a:accent4>
          <a:srgbClr val="DADADA"/>
        </a:accent4>
        <a:accent5>
          <a:srgbClr val="AAB5C2"/>
        </a:accent5>
        <a:accent6>
          <a:srgbClr val="582E94"/>
        </a:accent6>
        <a:hlink>
          <a:srgbClr val="828282"/>
        </a:hlink>
        <a:folHlink>
          <a:srgbClr val="BABABA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19</TotalTime>
  <Words>1706</Words>
  <Application>Microsoft Office PowerPoint</Application>
  <PresentationFormat>On-screen Show (4:3)</PresentationFormat>
  <Paragraphs>571</Paragraphs>
  <Slides>35</Slides>
  <Notes>10</Notes>
  <HiddenSlides>2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Simplified Chinese</vt:lpstr>
      <vt:lpstr>PowerPoint Presentation</vt:lpstr>
      <vt:lpstr>Agenda</vt:lpstr>
      <vt:lpstr>Agenda</vt:lpstr>
      <vt:lpstr>ERPs en la Gestión de Comercio Exterior</vt:lpstr>
      <vt:lpstr>ERPs en la Gestión de Comercio Exterior</vt:lpstr>
      <vt:lpstr>ERPs en la Gestión de Comercio Exterior</vt:lpstr>
      <vt:lpstr>ERPs en la Gestión de Comercio Exterior</vt:lpstr>
      <vt:lpstr>ERPs en la Gestión de Comercio Exterior</vt:lpstr>
      <vt:lpstr>ERPs en la Gestión de Comercio Exterior</vt:lpstr>
      <vt:lpstr>ERPs en la Gestión de Comercio Exterior</vt:lpstr>
      <vt:lpstr>FLUJO MODELO IMPORTACION</vt:lpstr>
      <vt:lpstr>FLUJO MODELO EXPORTACION</vt:lpstr>
      <vt:lpstr>Automatización y Consolidación</vt:lpstr>
      <vt:lpstr>SISTEMA ACTUAL vs. GTM</vt:lpstr>
      <vt:lpstr>SISTEMA ACTUAL vs. GTM</vt:lpstr>
      <vt:lpstr>Agenda</vt:lpstr>
      <vt:lpstr>GLOBAL TRADE MANAGER | SOLUTIONS SUITE</vt:lpstr>
      <vt:lpstr>GLOBAL TRADE | SOLUTIONS SUITE</vt:lpstr>
      <vt:lpstr>PowerPoint Presentation</vt:lpstr>
      <vt:lpstr>Plataforma Global</vt:lpstr>
      <vt:lpstr>FLUJO MODELO IMPORTACION</vt:lpstr>
      <vt:lpstr>FLUJO MODELO EXPORTACION</vt:lpstr>
      <vt:lpstr>MODELO END TO END</vt:lpstr>
      <vt:lpstr>INTEGRACIÓN CON LOS PRINCIPALES ERPs</vt:lpstr>
      <vt:lpstr>SISTEMA ACTUAL vs. GTM</vt:lpstr>
      <vt:lpstr>Agenda</vt:lpstr>
      <vt:lpstr>THOMSON REUTERS | VERTICALES</vt:lpstr>
      <vt:lpstr>Presencia Global</vt:lpstr>
      <vt:lpstr>NUESTRA SOLUCION</vt:lpstr>
      <vt:lpstr>PowerPoint Presentation</vt:lpstr>
      <vt:lpstr>Algunos de nuestros Casos de Exito</vt:lpstr>
      <vt:lpstr>LA PRIMERA SOLUCIÓN REALMENTE GLOBAL PARA COMERCIO EXTERIOR - ROADMAP</vt:lpstr>
      <vt:lpstr>Agenda</vt:lpstr>
      <vt:lpstr>Muchas Gracias</vt:lpstr>
      <vt:lpstr>PowerPoint Presentation</vt:lpstr>
    </vt:vector>
  </TitlesOfParts>
  <Company>Thomson Financi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OMSON REUTERS  PRESENTATION TEMPLATE</dc:title>
  <dc:creator>Nicholas Ruthven</dc:creator>
  <cp:lastModifiedBy>Mardones, Fernando (GGO)</cp:lastModifiedBy>
  <cp:revision>366</cp:revision>
  <dcterms:created xsi:type="dcterms:W3CDTF">2009-05-29T03:51:32Z</dcterms:created>
  <dcterms:modified xsi:type="dcterms:W3CDTF">2016-07-05T00:2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VersionGuid_v2.5">
    <vt:lpwstr/>
  </property>
  <property fmtid="{D5CDD505-2E9C-101B-9397-08002B2CF9AE}" pid="3" name="Offisync_UniqueId">
    <vt:lpwstr>891796</vt:lpwstr>
  </property>
  <property fmtid="{D5CDD505-2E9C-101B-9397-08002B2CF9AE}" pid="4" name="Offisync_ServerID">
    <vt:lpwstr>827ef9c6-9019-45bb-9c94-05eb52e667cd</vt:lpwstr>
  </property>
  <property fmtid="{D5CDD505-2E9C-101B-9397-08002B2CF9AE}" pid="5" name="Offisync_UpdateToken">
    <vt:lpwstr>1</vt:lpwstr>
  </property>
  <property fmtid="{D5CDD505-2E9C-101B-9397-08002B2CF9AE}" pid="6" name="Jive_LatestUserAccountName">
    <vt:lpwstr>0171851</vt:lpwstr>
  </property>
  <property fmtid="{D5CDD505-2E9C-101B-9397-08002B2CF9AE}" pid="7" name="Jive_ModifiedButNotPublished">
    <vt:lpwstr>True</vt:lpwstr>
  </property>
  <property fmtid="{D5CDD505-2E9C-101B-9397-08002B2CF9AE}" pid="8" name="Jive_LatestFileFullName">
    <vt:lpwstr/>
  </property>
  <property fmtid="{D5CDD505-2E9C-101B-9397-08002B2CF9AE}" pid="9" name="Offisync_ProviderInitializationData">
    <vt:lpwstr>https://thehub.thomsonreuters.com</vt:lpwstr>
  </property>
  <property fmtid="{D5CDD505-2E9C-101B-9397-08002B2CF9AE}" pid="10" name="Jive_PrevVersionNumber">
    <vt:lpwstr/>
  </property>
  <property fmtid="{D5CDD505-2E9C-101B-9397-08002B2CF9AE}" pid="11" name="Jive_VersionGuid">
    <vt:lpwstr>4eda896d-b230-4cc5-b0ac-69adc994fbef</vt:lpwstr>
  </property>
</Properties>
</file>